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omments/modernComment_687_A963209C.xml" ContentType="application/vnd.ms-powerpoint.comment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21"/>
  </p:notesMasterIdLst>
  <p:handoutMasterIdLst>
    <p:handoutMasterId r:id="rId22"/>
  </p:handoutMasterIdLst>
  <p:sldIdLst>
    <p:sldId id="271" r:id="rId5"/>
    <p:sldId id="257" r:id="rId6"/>
    <p:sldId id="272" r:id="rId7"/>
    <p:sldId id="277" r:id="rId8"/>
    <p:sldId id="278" r:id="rId9"/>
    <p:sldId id="287" r:id="rId10"/>
    <p:sldId id="281" r:id="rId11"/>
    <p:sldId id="282" r:id="rId12"/>
    <p:sldId id="288" r:id="rId13"/>
    <p:sldId id="283" r:id="rId14"/>
    <p:sldId id="1671" r:id="rId15"/>
    <p:sldId id="289" r:id="rId16"/>
    <p:sldId id="284" r:id="rId17"/>
    <p:sldId id="1672" r:id="rId18"/>
    <p:sldId id="285" r:id="rId19"/>
    <p:sldId id="270" r:id="rId20"/>
  </p:sldIdLst>
  <p:sldSz cx="12192000" cy="6858000"/>
  <p:notesSz cx="6858000" cy="9144000"/>
  <p:custDataLst>
    <p:tags r:id="rId23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 + Titeldia" id="{4EFEB6C4-4E67-492B-83ED-09BB5F5E54D6}">
          <p14:sldIdLst>
            <p14:sldId id="271"/>
          </p14:sldIdLst>
        </p14:section>
        <p14:section name="Agenda" id="{EB02E176-1720-4CDA-A9CC-8476750ACCA9}">
          <p14:sldIdLst>
            <p14:sldId id="257"/>
          </p14:sldIdLst>
        </p14:section>
        <p14:section name="Tekst en Beeld" id="{5C7FB790-3A5D-40FB-B96F-F06A8CA28F58}">
          <p14:sldIdLst>
            <p14:sldId id="272"/>
            <p14:sldId id="277"/>
            <p14:sldId id="278"/>
            <p14:sldId id="287"/>
            <p14:sldId id="281"/>
            <p14:sldId id="282"/>
            <p14:sldId id="288"/>
            <p14:sldId id="283"/>
            <p14:sldId id="1671"/>
            <p14:sldId id="289"/>
            <p14:sldId id="284"/>
            <p14:sldId id="1672"/>
            <p14:sldId id="285"/>
            <p14:sldId id="2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CCE29FC-9E45-AB90-0A01-1FAEBFDE73F2}" name="Arjan Middelkoop" initials="AM" userId="S::Arjan.Middelkoop@SIDN.nl::f42f3232-e3a1-4236-b119-20ddc8d488b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26465"/>
    <a:srgbClr val="0062A9"/>
    <a:srgbClr val="0DB3B5"/>
    <a:srgbClr val="0864A8"/>
    <a:srgbClr val="178E43"/>
    <a:srgbClr val="EA4A27"/>
    <a:srgbClr val="001536"/>
    <a:srgbClr val="656565"/>
    <a:srgbClr val="3560AB"/>
    <a:srgbClr val="0021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D242F6-A983-4F3E-8618-7E6D3305C206}" v="186" dt="2023-10-02T07:14:56.9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3" autoAdjust="0"/>
    <p:restoredTop sz="94660"/>
  </p:normalViewPr>
  <p:slideViewPr>
    <p:cSldViewPr snapToGrid="0" showGuides="1">
      <p:cViewPr varScale="1">
        <p:scale>
          <a:sx n="90" d="100"/>
          <a:sy n="90" d="100"/>
        </p:scale>
        <p:origin x="110" y="5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87" d="100"/>
          <a:sy n="87" d="100"/>
        </p:scale>
        <p:origin x="272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iel Henneke" userId="5fec8ce7-8511-47c1-8d17-ae5580718ff0" providerId="ADAL" clId="{46D242F6-A983-4F3E-8618-7E6D3305C206}"/>
    <pc:docChg chg="undo custSel addSld delSld modSld sldOrd modSection">
      <pc:chgData name="Michiel Henneke" userId="5fec8ce7-8511-47c1-8d17-ae5580718ff0" providerId="ADAL" clId="{46D242F6-A983-4F3E-8618-7E6D3305C206}" dt="2023-10-02T07:15:07.543" v="3843" actId="1076"/>
      <pc:docMkLst>
        <pc:docMk/>
      </pc:docMkLst>
      <pc:sldChg chg="modSp mod">
        <pc:chgData name="Michiel Henneke" userId="5fec8ce7-8511-47c1-8d17-ae5580718ff0" providerId="ADAL" clId="{46D242F6-A983-4F3E-8618-7E6D3305C206}" dt="2023-09-29T07:46:54.946" v="93" actId="6549"/>
        <pc:sldMkLst>
          <pc:docMk/>
          <pc:sldMk cId="572342909" sldId="257"/>
        </pc:sldMkLst>
        <pc:spChg chg="mod">
          <ac:chgData name="Michiel Henneke" userId="5fec8ce7-8511-47c1-8d17-ae5580718ff0" providerId="ADAL" clId="{46D242F6-A983-4F3E-8618-7E6D3305C206}" dt="2023-09-29T07:46:54.946" v="93" actId="6549"/>
          <ac:spMkLst>
            <pc:docMk/>
            <pc:sldMk cId="572342909" sldId="257"/>
            <ac:spMk id="5" creationId="{00000000-0000-0000-0000-000000000000}"/>
          </ac:spMkLst>
        </pc:spChg>
      </pc:sldChg>
      <pc:sldChg chg="modSp mod">
        <pc:chgData name="Michiel Henneke" userId="5fec8ce7-8511-47c1-8d17-ae5580718ff0" providerId="ADAL" clId="{46D242F6-A983-4F3E-8618-7E6D3305C206}" dt="2023-09-29T08:12:17.006" v="599" actId="404"/>
        <pc:sldMkLst>
          <pc:docMk/>
          <pc:sldMk cId="1132475260" sldId="272"/>
        </pc:sldMkLst>
        <pc:spChg chg="mod">
          <ac:chgData name="Michiel Henneke" userId="5fec8ce7-8511-47c1-8d17-ae5580718ff0" providerId="ADAL" clId="{46D242F6-A983-4F3E-8618-7E6D3305C206}" dt="2023-09-29T07:53:24.830" v="546" actId="20577"/>
          <ac:spMkLst>
            <pc:docMk/>
            <pc:sldMk cId="1132475260" sldId="272"/>
            <ac:spMk id="2" creationId="{00000000-0000-0000-0000-000000000000}"/>
          </ac:spMkLst>
        </pc:spChg>
        <pc:spChg chg="mod">
          <ac:chgData name="Michiel Henneke" userId="5fec8ce7-8511-47c1-8d17-ae5580718ff0" providerId="ADAL" clId="{46D242F6-A983-4F3E-8618-7E6D3305C206}" dt="2023-09-29T08:12:17.006" v="599" actId="404"/>
          <ac:spMkLst>
            <pc:docMk/>
            <pc:sldMk cId="1132475260" sldId="272"/>
            <ac:spMk id="5" creationId="{00000000-0000-0000-0000-000000000000}"/>
          </ac:spMkLst>
        </pc:spChg>
      </pc:sldChg>
      <pc:sldChg chg="del">
        <pc:chgData name="Michiel Henneke" userId="5fec8ce7-8511-47c1-8d17-ae5580718ff0" providerId="ADAL" clId="{46D242F6-A983-4F3E-8618-7E6D3305C206}" dt="2023-09-29T09:29:05.480" v="3587" actId="47"/>
        <pc:sldMkLst>
          <pc:docMk/>
          <pc:sldMk cId="1259350869" sldId="273"/>
        </pc:sldMkLst>
      </pc:sldChg>
      <pc:sldChg chg="del">
        <pc:chgData name="Michiel Henneke" userId="5fec8ce7-8511-47c1-8d17-ae5580718ff0" providerId="ADAL" clId="{46D242F6-A983-4F3E-8618-7E6D3305C206}" dt="2023-09-29T09:29:14.969" v="3588" actId="47"/>
        <pc:sldMkLst>
          <pc:docMk/>
          <pc:sldMk cId="805787419" sldId="275"/>
        </pc:sldMkLst>
      </pc:sldChg>
      <pc:sldChg chg="del">
        <pc:chgData name="Michiel Henneke" userId="5fec8ce7-8511-47c1-8d17-ae5580718ff0" providerId="ADAL" clId="{46D242F6-A983-4F3E-8618-7E6D3305C206}" dt="2023-09-29T09:29:19.230" v="3589" actId="47"/>
        <pc:sldMkLst>
          <pc:docMk/>
          <pc:sldMk cId="2504556566" sldId="276"/>
        </pc:sldMkLst>
      </pc:sldChg>
      <pc:sldChg chg="addSp modSp mod modClrScheme chgLayout">
        <pc:chgData name="Michiel Henneke" userId="5fec8ce7-8511-47c1-8d17-ae5580718ff0" providerId="ADAL" clId="{46D242F6-A983-4F3E-8618-7E6D3305C206}" dt="2023-10-02T07:15:07.543" v="3843" actId="1076"/>
        <pc:sldMkLst>
          <pc:docMk/>
          <pc:sldMk cId="238495553" sldId="277"/>
        </pc:sldMkLst>
        <pc:spChg chg="mod">
          <ac:chgData name="Michiel Henneke" userId="5fec8ce7-8511-47c1-8d17-ae5580718ff0" providerId="ADAL" clId="{46D242F6-A983-4F3E-8618-7E6D3305C206}" dt="2023-09-29T08:20:55.649" v="1123" actId="403"/>
          <ac:spMkLst>
            <pc:docMk/>
            <pc:sldMk cId="238495553" sldId="277"/>
            <ac:spMk id="2" creationId="{985A4A2A-F3EC-606A-0027-CF7FA12FA101}"/>
          </ac:spMkLst>
        </pc:spChg>
        <pc:spChg chg="mod">
          <ac:chgData name="Michiel Henneke" userId="5fec8ce7-8511-47c1-8d17-ae5580718ff0" providerId="ADAL" clId="{46D242F6-A983-4F3E-8618-7E6D3305C206}" dt="2023-09-29T08:20:51.676" v="1119" actId="1076"/>
          <ac:spMkLst>
            <pc:docMk/>
            <pc:sldMk cId="238495553" sldId="277"/>
            <ac:spMk id="3" creationId="{2DB4B531-B1AB-874C-78DB-86162D92766D}"/>
          </ac:spMkLst>
        </pc:spChg>
        <pc:spChg chg="mod">
          <ac:chgData name="Michiel Henneke" userId="5fec8ce7-8511-47c1-8d17-ae5580718ff0" providerId="ADAL" clId="{46D242F6-A983-4F3E-8618-7E6D3305C206}" dt="2023-09-29T08:18:30.846" v="1029" actId="26606"/>
          <ac:spMkLst>
            <pc:docMk/>
            <pc:sldMk cId="238495553" sldId="277"/>
            <ac:spMk id="4" creationId="{4522CE69-6C8B-A2B7-327A-DFF94C70FB84}"/>
          </ac:spMkLst>
        </pc:spChg>
        <pc:spChg chg="mod ord">
          <ac:chgData name="Michiel Henneke" userId="5fec8ce7-8511-47c1-8d17-ae5580718ff0" providerId="ADAL" clId="{46D242F6-A983-4F3E-8618-7E6D3305C206}" dt="2023-09-29T08:18:30.846" v="1029" actId="26606"/>
          <ac:spMkLst>
            <pc:docMk/>
            <pc:sldMk cId="238495553" sldId="277"/>
            <ac:spMk id="5" creationId="{2B627BF8-D4B0-338D-D860-76C74E1434D8}"/>
          </ac:spMkLst>
        </pc:spChg>
        <pc:spChg chg="add mod">
          <ac:chgData name="Michiel Henneke" userId="5fec8ce7-8511-47c1-8d17-ae5580718ff0" providerId="ADAL" clId="{46D242F6-A983-4F3E-8618-7E6D3305C206}" dt="2023-10-02T07:15:07.543" v="3843" actId="1076"/>
          <ac:spMkLst>
            <pc:docMk/>
            <pc:sldMk cId="238495553" sldId="277"/>
            <ac:spMk id="8" creationId="{3A3EDB9F-4179-233A-678A-D68A6D5D0D27}"/>
          </ac:spMkLst>
        </pc:spChg>
        <pc:picChg chg="add mod modCrop">
          <ac:chgData name="Michiel Henneke" userId="5fec8ce7-8511-47c1-8d17-ae5580718ff0" providerId="ADAL" clId="{46D242F6-A983-4F3E-8618-7E6D3305C206}" dt="2023-10-02T07:15:04.417" v="3842" actId="732"/>
          <ac:picMkLst>
            <pc:docMk/>
            <pc:sldMk cId="238495553" sldId="277"/>
            <ac:picMk id="7" creationId="{974CF0B0-7863-B9DA-1A38-1A9E2AC2190A}"/>
          </ac:picMkLst>
        </pc:picChg>
      </pc:sldChg>
      <pc:sldChg chg="modSp mod modAnim">
        <pc:chgData name="Michiel Henneke" userId="5fec8ce7-8511-47c1-8d17-ae5580718ff0" providerId="ADAL" clId="{46D242F6-A983-4F3E-8618-7E6D3305C206}" dt="2023-09-29T08:38:05.718" v="1340" actId="20577"/>
        <pc:sldMkLst>
          <pc:docMk/>
          <pc:sldMk cId="1326012851" sldId="278"/>
        </pc:sldMkLst>
        <pc:spChg chg="mod">
          <ac:chgData name="Michiel Henneke" userId="5fec8ce7-8511-47c1-8d17-ae5580718ff0" providerId="ADAL" clId="{46D242F6-A983-4F3E-8618-7E6D3305C206}" dt="2023-09-29T08:38:05.718" v="1340" actId="20577"/>
          <ac:spMkLst>
            <pc:docMk/>
            <pc:sldMk cId="1326012851" sldId="278"/>
            <ac:spMk id="2" creationId="{8F0EB0E8-1120-6CA0-E30E-EF0300445B3A}"/>
          </ac:spMkLst>
        </pc:spChg>
        <pc:spChg chg="mod">
          <ac:chgData name="Michiel Henneke" userId="5fec8ce7-8511-47c1-8d17-ae5580718ff0" providerId="ADAL" clId="{46D242F6-A983-4F3E-8618-7E6D3305C206}" dt="2023-09-29T08:37:28.809" v="1326" actId="1076"/>
          <ac:spMkLst>
            <pc:docMk/>
            <pc:sldMk cId="1326012851" sldId="278"/>
            <ac:spMk id="3" creationId="{6D54FFCF-298A-A0B4-4DE5-B68378618DC8}"/>
          </ac:spMkLst>
        </pc:spChg>
      </pc:sldChg>
      <pc:sldChg chg="modSp del mod">
        <pc:chgData name="Michiel Henneke" userId="5fec8ce7-8511-47c1-8d17-ae5580718ff0" providerId="ADAL" clId="{46D242F6-A983-4F3E-8618-7E6D3305C206}" dt="2023-09-29T08:23:09.639" v="1128" actId="47"/>
        <pc:sldMkLst>
          <pc:docMk/>
          <pc:sldMk cId="781742805" sldId="279"/>
        </pc:sldMkLst>
        <pc:spChg chg="mod">
          <ac:chgData name="Michiel Henneke" userId="5fec8ce7-8511-47c1-8d17-ae5580718ff0" providerId="ADAL" clId="{46D242F6-A983-4F3E-8618-7E6D3305C206}" dt="2023-09-27T13:20:35.584" v="90" actId="20577"/>
          <ac:spMkLst>
            <pc:docMk/>
            <pc:sldMk cId="781742805" sldId="279"/>
            <ac:spMk id="3" creationId="{6D54FFCF-298A-A0B4-4DE5-B68378618DC8}"/>
          </ac:spMkLst>
        </pc:spChg>
      </pc:sldChg>
      <pc:sldChg chg="del">
        <pc:chgData name="Michiel Henneke" userId="5fec8ce7-8511-47c1-8d17-ae5580718ff0" providerId="ADAL" clId="{46D242F6-A983-4F3E-8618-7E6D3305C206}" dt="2023-09-29T08:23:07.565" v="1127" actId="47"/>
        <pc:sldMkLst>
          <pc:docMk/>
          <pc:sldMk cId="2015619015" sldId="280"/>
        </pc:sldMkLst>
      </pc:sldChg>
      <pc:sldChg chg="modSp mod modAnim">
        <pc:chgData name="Michiel Henneke" userId="5fec8ce7-8511-47c1-8d17-ae5580718ff0" providerId="ADAL" clId="{46D242F6-A983-4F3E-8618-7E6D3305C206}" dt="2023-09-29T08:43:43.580" v="1415" actId="20577"/>
        <pc:sldMkLst>
          <pc:docMk/>
          <pc:sldMk cId="1438899651" sldId="281"/>
        </pc:sldMkLst>
        <pc:spChg chg="mod">
          <ac:chgData name="Michiel Henneke" userId="5fec8ce7-8511-47c1-8d17-ae5580718ff0" providerId="ADAL" clId="{46D242F6-A983-4F3E-8618-7E6D3305C206}" dt="2023-09-29T08:38:40.500" v="1368" actId="6549"/>
          <ac:spMkLst>
            <pc:docMk/>
            <pc:sldMk cId="1438899651" sldId="281"/>
            <ac:spMk id="2" creationId="{4E2E1953-3E8C-F388-E58E-1FFD38D9018B}"/>
          </ac:spMkLst>
        </pc:spChg>
        <pc:spChg chg="mod">
          <ac:chgData name="Michiel Henneke" userId="5fec8ce7-8511-47c1-8d17-ae5580718ff0" providerId="ADAL" clId="{46D242F6-A983-4F3E-8618-7E6D3305C206}" dt="2023-09-29T08:43:43.580" v="1415" actId="20577"/>
          <ac:spMkLst>
            <pc:docMk/>
            <pc:sldMk cId="1438899651" sldId="281"/>
            <ac:spMk id="3" creationId="{8539683B-6AFF-2DD1-1AA3-81C10AF9D4DD}"/>
          </ac:spMkLst>
        </pc:spChg>
      </pc:sldChg>
      <pc:sldChg chg="modSp mod">
        <pc:chgData name="Michiel Henneke" userId="5fec8ce7-8511-47c1-8d17-ae5580718ff0" providerId="ADAL" clId="{46D242F6-A983-4F3E-8618-7E6D3305C206}" dt="2023-09-29T08:46:28.730" v="1471" actId="113"/>
        <pc:sldMkLst>
          <pc:docMk/>
          <pc:sldMk cId="873704354" sldId="282"/>
        </pc:sldMkLst>
        <pc:spChg chg="mod">
          <ac:chgData name="Michiel Henneke" userId="5fec8ce7-8511-47c1-8d17-ae5580718ff0" providerId="ADAL" clId="{46D242F6-A983-4F3E-8618-7E6D3305C206}" dt="2023-09-29T08:45:10.758" v="1437" actId="6549"/>
          <ac:spMkLst>
            <pc:docMk/>
            <pc:sldMk cId="873704354" sldId="282"/>
            <ac:spMk id="2" creationId="{0A0FD694-8422-D6D5-571E-705F2243579A}"/>
          </ac:spMkLst>
        </pc:spChg>
        <pc:spChg chg="mod">
          <ac:chgData name="Michiel Henneke" userId="5fec8ce7-8511-47c1-8d17-ae5580718ff0" providerId="ADAL" clId="{46D242F6-A983-4F3E-8618-7E6D3305C206}" dt="2023-09-29T08:46:28.730" v="1471" actId="113"/>
          <ac:spMkLst>
            <pc:docMk/>
            <pc:sldMk cId="873704354" sldId="282"/>
            <ac:spMk id="3" creationId="{AB44A6C3-0A22-5743-91B9-A7D4AC6EE984}"/>
          </ac:spMkLst>
        </pc:spChg>
      </pc:sldChg>
      <pc:sldChg chg="addSp delSp modSp mod">
        <pc:chgData name="Michiel Henneke" userId="5fec8ce7-8511-47c1-8d17-ae5580718ff0" providerId="ADAL" clId="{46D242F6-A983-4F3E-8618-7E6D3305C206}" dt="2023-09-29T08:52:45.545" v="1946" actId="1076"/>
        <pc:sldMkLst>
          <pc:docMk/>
          <pc:sldMk cId="2000086601" sldId="283"/>
        </pc:sldMkLst>
        <pc:spChg chg="mod">
          <ac:chgData name="Michiel Henneke" userId="5fec8ce7-8511-47c1-8d17-ae5580718ff0" providerId="ADAL" clId="{46D242F6-A983-4F3E-8618-7E6D3305C206}" dt="2023-09-29T08:52:45.545" v="1946" actId="1076"/>
          <ac:spMkLst>
            <pc:docMk/>
            <pc:sldMk cId="2000086601" sldId="283"/>
            <ac:spMk id="2" creationId="{BD9BD9B3-9387-0097-2822-E8A840B9211B}"/>
          </ac:spMkLst>
        </pc:spChg>
        <pc:spChg chg="mod">
          <ac:chgData name="Michiel Henneke" userId="5fec8ce7-8511-47c1-8d17-ae5580718ff0" providerId="ADAL" clId="{46D242F6-A983-4F3E-8618-7E6D3305C206}" dt="2023-09-29T08:52:33.741" v="1945" actId="20577"/>
          <ac:spMkLst>
            <pc:docMk/>
            <pc:sldMk cId="2000086601" sldId="283"/>
            <ac:spMk id="3" creationId="{EB98C400-F465-4343-44CA-CFC92D6E0AAF}"/>
          </ac:spMkLst>
        </pc:spChg>
        <pc:spChg chg="add del mod">
          <ac:chgData name="Michiel Henneke" userId="5fec8ce7-8511-47c1-8d17-ae5580718ff0" providerId="ADAL" clId="{46D242F6-A983-4F3E-8618-7E6D3305C206}" dt="2023-09-27T13:13:25.019" v="76"/>
          <ac:spMkLst>
            <pc:docMk/>
            <pc:sldMk cId="2000086601" sldId="283"/>
            <ac:spMk id="7" creationId="{BA626AAC-CBFC-65CF-5215-CBBFE54F9C32}"/>
          </ac:spMkLst>
        </pc:spChg>
      </pc:sldChg>
      <pc:sldChg chg="modSp mod ord">
        <pc:chgData name="Michiel Henneke" userId="5fec8ce7-8511-47c1-8d17-ae5580718ff0" providerId="ADAL" clId="{46D242F6-A983-4F3E-8618-7E6D3305C206}" dt="2023-09-29T08:57:34.820" v="2320" actId="1076"/>
        <pc:sldMkLst>
          <pc:docMk/>
          <pc:sldMk cId="3674743082" sldId="284"/>
        </pc:sldMkLst>
        <pc:spChg chg="mod">
          <ac:chgData name="Michiel Henneke" userId="5fec8ce7-8511-47c1-8d17-ae5580718ff0" providerId="ADAL" clId="{46D242F6-A983-4F3E-8618-7E6D3305C206}" dt="2023-09-29T08:53:38.450" v="1973" actId="20577"/>
          <ac:spMkLst>
            <pc:docMk/>
            <pc:sldMk cId="3674743082" sldId="284"/>
            <ac:spMk id="2" creationId="{7F68A381-246D-2D5D-5B49-04EA45856ADF}"/>
          </ac:spMkLst>
        </pc:spChg>
        <pc:spChg chg="mod">
          <ac:chgData name="Michiel Henneke" userId="5fec8ce7-8511-47c1-8d17-ae5580718ff0" providerId="ADAL" clId="{46D242F6-A983-4F3E-8618-7E6D3305C206}" dt="2023-09-29T08:57:34.820" v="2320" actId="1076"/>
          <ac:spMkLst>
            <pc:docMk/>
            <pc:sldMk cId="3674743082" sldId="284"/>
            <ac:spMk id="3" creationId="{3D4BEDE3-0026-620F-1C12-42CB586B58DB}"/>
          </ac:spMkLst>
        </pc:spChg>
      </pc:sldChg>
      <pc:sldChg chg="addSp modSp mod">
        <pc:chgData name="Michiel Henneke" userId="5fec8ce7-8511-47c1-8d17-ae5580718ff0" providerId="ADAL" clId="{46D242F6-A983-4F3E-8618-7E6D3305C206}" dt="2023-09-29T09:29:01.235" v="3586" actId="1076"/>
        <pc:sldMkLst>
          <pc:docMk/>
          <pc:sldMk cId="2058095031" sldId="285"/>
        </pc:sldMkLst>
        <pc:spChg chg="mod">
          <ac:chgData name="Michiel Henneke" userId="5fec8ce7-8511-47c1-8d17-ae5580718ff0" providerId="ADAL" clId="{46D242F6-A983-4F3E-8618-7E6D3305C206}" dt="2023-09-29T09:29:01.235" v="3586" actId="1076"/>
          <ac:spMkLst>
            <pc:docMk/>
            <pc:sldMk cId="2058095031" sldId="285"/>
            <ac:spMk id="3" creationId="{B4B493E7-BFF3-1E0A-A539-1E5649E8C084}"/>
          </ac:spMkLst>
        </pc:spChg>
        <pc:picChg chg="add mod">
          <ac:chgData name="Michiel Henneke" userId="5fec8ce7-8511-47c1-8d17-ae5580718ff0" providerId="ADAL" clId="{46D242F6-A983-4F3E-8618-7E6D3305C206}" dt="2023-09-29T09:27:32.024" v="3399" actId="1076"/>
          <ac:picMkLst>
            <pc:docMk/>
            <pc:sldMk cId="2058095031" sldId="285"/>
            <ac:picMk id="7" creationId="{C5EDEEA0-3BAF-EC24-84FF-684680439C54}"/>
          </ac:picMkLst>
        </pc:picChg>
      </pc:sldChg>
      <pc:sldChg chg="modSp new del mod">
        <pc:chgData name="Michiel Henneke" userId="5fec8ce7-8511-47c1-8d17-ae5580718ff0" providerId="ADAL" clId="{46D242F6-A983-4F3E-8618-7E6D3305C206}" dt="2023-09-29T09:25:46.620" v="3351" actId="47"/>
        <pc:sldMkLst>
          <pc:docMk/>
          <pc:sldMk cId="1283677132" sldId="286"/>
        </pc:sldMkLst>
        <pc:spChg chg="mod">
          <ac:chgData name="Michiel Henneke" userId="5fec8ce7-8511-47c1-8d17-ae5580718ff0" providerId="ADAL" clId="{46D242F6-A983-4F3E-8618-7E6D3305C206}" dt="2023-09-27T13:13:21.333" v="73"/>
          <ac:spMkLst>
            <pc:docMk/>
            <pc:sldMk cId="1283677132" sldId="286"/>
            <ac:spMk id="2" creationId="{EB1450AE-5618-3513-90F5-EF2BE1D1395F}"/>
          </ac:spMkLst>
        </pc:spChg>
      </pc:sldChg>
      <pc:sldChg chg="delSp modSp new mod">
        <pc:chgData name="Michiel Henneke" userId="5fec8ce7-8511-47c1-8d17-ae5580718ff0" providerId="ADAL" clId="{46D242F6-A983-4F3E-8618-7E6D3305C206}" dt="2023-09-29T08:38:31.938" v="1365" actId="478"/>
        <pc:sldMkLst>
          <pc:docMk/>
          <pc:sldMk cId="1859546838" sldId="287"/>
        </pc:sldMkLst>
        <pc:spChg chg="mod">
          <ac:chgData name="Michiel Henneke" userId="5fec8ce7-8511-47c1-8d17-ae5580718ff0" providerId="ADAL" clId="{46D242F6-A983-4F3E-8618-7E6D3305C206}" dt="2023-09-29T08:38:28.794" v="1364" actId="20577"/>
          <ac:spMkLst>
            <pc:docMk/>
            <pc:sldMk cId="1859546838" sldId="287"/>
            <ac:spMk id="3" creationId="{C06FDBDA-3D25-AEB9-1E3F-358403A606D5}"/>
          </ac:spMkLst>
        </pc:spChg>
        <pc:spChg chg="del">
          <ac:chgData name="Michiel Henneke" userId="5fec8ce7-8511-47c1-8d17-ae5580718ff0" providerId="ADAL" clId="{46D242F6-A983-4F3E-8618-7E6D3305C206}" dt="2023-09-29T08:38:31.938" v="1365" actId="478"/>
          <ac:spMkLst>
            <pc:docMk/>
            <pc:sldMk cId="1859546838" sldId="287"/>
            <ac:spMk id="4" creationId="{61D4BD7D-18FC-5475-F787-A6944A9716BF}"/>
          </ac:spMkLst>
        </pc:spChg>
      </pc:sldChg>
      <pc:sldChg chg="modSp add mod">
        <pc:chgData name="Michiel Henneke" userId="5fec8ce7-8511-47c1-8d17-ae5580718ff0" providerId="ADAL" clId="{46D242F6-A983-4F3E-8618-7E6D3305C206}" dt="2023-09-29T08:48:45.580" v="1511" actId="20577"/>
        <pc:sldMkLst>
          <pc:docMk/>
          <pc:sldMk cId="3944488609" sldId="288"/>
        </pc:sldMkLst>
        <pc:spChg chg="mod">
          <ac:chgData name="Michiel Henneke" userId="5fec8ce7-8511-47c1-8d17-ae5580718ff0" providerId="ADAL" clId="{46D242F6-A983-4F3E-8618-7E6D3305C206}" dt="2023-09-29T08:47:45.338" v="1480" actId="20577"/>
          <ac:spMkLst>
            <pc:docMk/>
            <pc:sldMk cId="3944488609" sldId="288"/>
            <ac:spMk id="2" creationId="{EB1450AE-5618-3513-90F5-EF2BE1D1395F}"/>
          </ac:spMkLst>
        </pc:spChg>
        <pc:spChg chg="mod">
          <ac:chgData name="Michiel Henneke" userId="5fec8ce7-8511-47c1-8d17-ae5580718ff0" providerId="ADAL" clId="{46D242F6-A983-4F3E-8618-7E6D3305C206}" dt="2023-09-29T08:48:45.580" v="1511" actId="20577"/>
          <ac:spMkLst>
            <pc:docMk/>
            <pc:sldMk cId="3944488609" sldId="288"/>
            <ac:spMk id="3" creationId="{987754F2-05AF-782E-ACFB-296E92CA4872}"/>
          </ac:spMkLst>
        </pc:spChg>
      </pc:sldChg>
      <pc:sldChg chg="modSp new mod">
        <pc:chgData name="Michiel Henneke" userId="5fec8ce7-8511-47c1-8d17-ae5580718ff0" providerId="ADAL" clId="{46D242F6-A983-4F3E-8618-7E6D3305C206}" dt="2023-09-29T09:25:41.401" v="3350" actId="20577"/>
        <pc:sldMkLst>
          <pc:docMk/>
          <pc:sldMk cId="1063704704" sldId="289"/>
        </pc:sldMkLst>
        <pc:spChg chg="mod">
          <ac:chgData name="Michiel Henneke" userId="5fec8ce7-8511-47c1-8d17-ae5580718ff0" providerId="ADAL" clId="{46D242F6-A983-4F3E-8618-7E6D3305C206}" dt="2023-09-29T09:17:33.180" v="2810" actId="20577"/>
          <ac:spMkLst>
            <pc:docMk/>
            <pc:sldMk cId="1063704704" sldId="289"/>
            <ac:spMk id="2" creationId="{BF812D13-A5BB-A9F6-767B-F7FECE659D0F}"/>
          </ac:spMkLst>
        </pc:spChg>
        <pc:spChg chg="mod">
          <ac:chgData name="Michiel Henneke" userId="5fec8ce7-8511-47c1-8d17-ae5580718ff0" providerId="ADAL" clId="{46D242F6-A983-4F3E-8618-7E6D3305C206}" dt="2023-09-29T09:25:41.401" v="3350" actId="20577"/>
          <ac:spMkLst>
            <pc:docMk/>
            <pc:sldMk cId="1063704704" sldId="289"/>
            <ac:spMk id="3" creationId="{3752241C-8F2B-82A3-46A0-263F31FD897D}"/>
          </ac:spMkLst>
        </pc:spChg>
      </pc:sldChg>
      <pc:sldChg chg="addSp delSp modSp add mod delAnim">
        <pc:chgData name="Michiel Henneke" userId="5fec8ce7-8511-47c1-8d17-ae5580718ff0" providerId="ADAL" clId="{46D242F6-A983-4F3E-8618-7E6D3305C206}" dt="2023-09-29T09:17:20.804" v="2800" actId="1076"/>
        <pc:sldMkLst>
          <pc:docMk/>
          <pc:sldMk cId="2841845916" sldId="1671"/>
        </pc:sldMkLst>
        <pc:spChg chg="del">
          <ac:chgData name="Michiel Henneke" userId="5fec8ce7-8511-47c1-8d17-ae5580718ff0" providerId="ADAL" clId="{46D242F6-A983-4F3E-8618-7E6D3305C206}" dt="2023-09-29T09:05:20.779" v="2399" actId="478"/>
          <ac:spMkLst>
            <pc:docMk/>
            <pc:sldMk cId="2841845916" sldId="1671"/>
            <ac:spMk id="2" creationId="{D4B00C42-E5EE-49DC-8AE5-F1AA661BCD46}"/>
          </ac:spMkLst>
        </pc:spChg>
        <pc:spChg chg="add del mod">
          <ac:chgData name="Michiel Henneke" userId="5fec8ce7-8511-47c1-8d17-ae5580718ff0" providerId="ADAL" clId="{46D242F6-A983-4F3E-8618-7E6D3305C206}" dt="2023-09-29T09:11:23.634" v="2513"/>
          <ac:spMkLst>
            <pc:docMk/>
            <pc:sldMk cId="2841845916" sldId="1671"/>
            <ac:spMk id="7" creationId="{CBDBBC97-0FB2-7DF1-0A7C-EFB0A2EF8262}"/>
          </ac:spMkLst>
        </pc:spChg>
        <pc:spChg chg="add del">
          <ac:chgData name="Michiel Henneke" userId="5fec8ce7-8511-47c1-8d17-ae5580718ff0" providerId="ADAL" clId="{46D242F6-A983-4F3E-8618-7E6D3305C206}" dt="2023-09-29T09:07:02.271" v="2417" actId="21"/>
          <ac:spMkLst>
            <pc:docMk/>
            <pc:sldMk cId="2841845916" sldId="1671"/>
            <ac:spMk id="9" creationId="{736B0F5A-7A81-4D88-459C-5261A828579F}"/>
          </ac:spMkLst>
        </pc:spChg>
        <pc:spChg chg="del">
          <ac:chgData name="Michiel Henneke" userId="5fec8ce7-8511-47c1-8d17-ae5580718ff0" providerId="ADAL" clId="{46D242F6-A983-4F3E-8618-7E6D3305C206}" dt="2023-09-29T09:09:25.010" v="2448" actId="478"/>
          <ac:spMkLst>
            <pc:docMk/>
            <pc:sldMk cId="2841845916" sldId="1671"/>
            <ac:spMk id="16" creationId="{3148E2F9-D4A0-4909-8783-37A60B85A2AC}"/>
          </ac:spMkLst>
        </pc:spChg>
        <pc:spChg chg="del mod">
          <ac:chgData name="Michiel Henneke" userId="5fec8ce7-8511-47c1-8d17-ae5580718ff0" providerId="ADAL" clId="{46D242F6-A983-4F3E-8618-7E6D3305C206}" dt="2023-09-29T09:08:46.859" v="2432" actId="478"/>
          <ac:spMkLst>
            <pc:docMk/>
            <pc:sldMk cId="2841845916" sldId="1671"/>
            <ac:spMk id="18" creationId="{31F6E749-7786-4E5D-9D38-1B272C281A4A}"/>
          </ac:spMkLst>
        </pc:spChg>
        <pc:spChg chg="del mod">
          <ac:chgData name="Michiel Henneke" userId="5fec8ce7-8511-47c1-8d17-ae5580718ff0" providerId="ADAL" clId="{46D242F6-A983-4F3E-8618-7E6D3305C206}" dt="2023-09-29T09:09:28.545" v="2450" actId="478"/>
          <ac:spMkLst>
            <pc:docMk/>
            <pc:sldMk cId="2841845916" sldId="1671"/>
            <ac:spMk id="19" creationId="{B8044705-B568-4C92-BF4C-4CE057999EC8}"/>
          </ac:spMkLst>
        </pc:spChg>
        <pc:spChg chg="add mod">
          <ac:chgData name="Michiel Henneke" userId="5fec8ce7-8511-47c1-8d17-ae5580718ff0" providerId="ADAL" clId="{46D242F6-A983-4F3E-8618-7E6D3305C206}" dt="2023-09-29T09:13:50.359" v="2556" actId="1076"/>
          <ac:spMkLst>
            <pc:docMk/>
            <pc:sldMk cId="2841845916" sldId="1671"/>
            <ac:spMk id="31" creationId="{DDB8188D-433A-8078-7340-8E05D07CBD80}"/>
          </ac:spMkLst>
        </pc:spChg>
        <pc:spChg chg="add mod">
          <ac:chgData name="Michiel Henneke" userId="5fec8ce7-8511-47c1-8d17-ae5580718ff0" providerId="ADAL" clId="{46D242F6-A983-4F3E-8618-7E6D3305C206}" dt="2023-09-29T09:17:00.359" v="2795" actId="1076"/>
          <ac:spMkLst>
            <pc:docMk/>
            <pc:sldMk cId="2841845916" sldId="1671"/>
            <ac:spMk id="32" creationId="{8D5A8471-B64C-2BB7-7BB8-41DCD34CBB95}"/>
          </ac:spMkLst>
        </pc:spChg>
        <pc:spChg chg="add mod">
          <ac:chgData name="Michiel Henneke" userId="5fec8ce7-8511-47c1-8d17-ae5580718ff0" providerId="ADAL" clId="{46D242F6-A983-4F3E-8618-7E6D3305C206}" dt="2023-09-29T09:17:18.806" v="2799" actId="1076"/>
          <ac:spMkLst>
            <pc:docMk/>
            <pc:sldMk cId="2841845916" sldId="1671"/>
            <ac:spMk id="33" creationId="{B7AF2CB3-3615-B324-2DA2-FF46C8FB3C96}"/>
          </ac:spMkLst>
        </pc:spChg>
        <pc:spChg chg="add mod">
          <ac:chgData name="Michiel Henneke" userId="5fec8ce7-8511-47c1-8d17-ae5580718ff0" providerId="ADAL" clId="{46D242F6-A983-4F3E-8618-7E6D3305C206}" dt="2023-09-29T09:17:15.443" v="2798" actId="1076"/>
          <ac:spMkLst>
            <pc:docMk/>
            <pc:sldMk cId="2841845916" sldId="1671"/>
            <ac:spMk id="34" creationId="{FB5AD4C2-3DDE-86DD-80E2-AE0980D12D5F}"/>
          </ac:spMkLst>
        </pc:spChg>
        <pc:spChg chg="add mod">
          <ac:chgData name="Michiel Henneke" userId="5fec8ce7-8511-47c1-8d17-ae5580718ff0" providerId="ADAL" clId="{46D242F6-A983-4F3E-8618-7E6D3305C206}" dt="2023-09-29T09:17:10.921" v="2797" actId="1076"/>
          <ac:spMkLst>
            <pc:docMk/>
            <pc:sldMk cId="2841845916" sldId="1671"/>
            <ac:spMk id="47" creationId="{4D31D674-B1B2-D878-BDBA-C65EF81C3E3F}"/>
          </ac:spMkLst>
        </pc:spChg>
        <pc:spChg chg="add mod">
          <ac:chgData name="Michiel Henneke" userId="5fec8ce7-8511-47c1-8d17-ae5580718ff0" providerId="ADAL" clId="{46D242F6-A983-4F3E-8618-7E6D3305C206}" dt="2023-09-29T09:17:20.804" v="2800" actId="1076"/>
          <ac:spMkLst>
            <pc:docMk/>
            <pc:sldMk cId="2841845916" sldId="1671"/>
            <ac:spMk id="48" creationId="{7A7D1268-EDB2-83B8-F3F8-82920CD5BD09}"/>
          </ac:spMkLst>
        </pc:spChg>
        <pc:spChg chg="mod">
          <ac:chgData name="Michiel Henneke" userId="5fec8ce7-8511-47c1-8d17-ae5580718ff0" providerId="ADAL" clId="{46D242F6-A983-4F3E-8618-7E6D3305C206}" dt="2023-09-29T09:11:02.885" v="2490" actId="20577"/>
          <ac:spMkLst>
            <pc:docMk/>
            <pc:sldMk cId="2841845916" sldId="1671"/>
            <ac:spMk id="54" creationId="{DCC47824-677F-4A57-B35F-B0C38D1B6553}"/>
          </ac:spMkLst>
        </pc:spChg>
        <pc:picChg chg="add del mod">
          <ac:chgData name="Michiel Henneke" userId="5fec8ce7-8511-47c1-8d17-ae5580718ff0" providerId="ADAL" clId="{46D242F6-A983-4F3E-8618-7E6D3305C206}" dt="2023-09-29T09:06:20.615" v="2412" actId="478"/>
          <ac:picMkLst>
            <pc:docMk/>
            <pc:sldMk cId="2841845916" sldId="1671"/>
            <ac:picMk id="3" creationId="{422670A0-4B38-FFB9-2377-8D69F44A0E12}"/>
          </ac:picMkLst>
        </pc:picChg>
        <pc:picChg chg="add del mod">
          <ac:chgData name="Michiel Henneke" userId="5fec8ce7-8511-47c1-8d17-ae5580718ff0" providerId="ADAL" clId="{46D242F6-A983-4F3E-8618-7E6D3305C206}" dt="2023-09-29T09:06:59.598" v="2415" actId="478"/>
          <ac:picMkLst>
            <pc:docMk/>
            <pc:sldMk cId="2841845916" sldId="1671"/>
            <ac:picMk id="5" creationId="{281162DE-4C1A-61FE-EE1F-303B296E25D1}"/>
          </ac:picMkLst>
        </pc:picChg>
        <pc:picChg chg="add del mod">
          <ac:chgData name="Michiel Henneke" userId="5fec8ce7-8511-47c1-8d17-ae5580718ff0" providerId="ADAL" clId="{46D242F6-A983-4F3E-8618-7E6D3305C206}" dt="2023-09-29T09:07:45.735" v="2423" actId="478"/>
          <ac:picMkLst>
            <pc:docMk/>
            <pc:sldMk cId="2841845916" sldId="1671"/>
            <ac:picMk id="8" creationId="{5EC57CE5-E230-A85E-0A10-675DDAADAD15}"/>
          </ac:picMkLst>
        </pc:picChg>
        <pc:picChg chg="add mod">
          <ac:chgData name="Michiel Henneke" userId="5fec8ce7-8511-47c1-8d17-ae5580718ff0" providerId="ADAL" clId="{46D242F6-A983-4F3E-8618-7E6D3305C206}" dt="2023-09-29T09:13:50.359" v="2556" actId="1076"/>
          <ac:picMkLst>
            <pc:docMk/>
            <pc:sldMk cId="2841845916" sldId="1671"/>
            <ac:picMk id="10" creationId="{1E1EBAAD-0CF0-271D-A794-EE7D850C116C}"/>
          </ac:picMkLst>
        </pc:picChg>
        <pc:picChg chg="add mod">
          <ac:chgData name="Michiel Henneke" userId="5fec8ce7-8511-47c1-8d17-ae5580718ff0" providerId="ADAL" clId="{46D242F6-A983-4F3E-8618-7E6D3305C206}" dt="2023-09-29T09:17:10.921" v="2797" actId="1076"/>
          <ac:picMkLst>
            <pc:docMk/>
            <pc:sldMk cId="2841845916" sldId="1671"/>
            <ac:picMk id="11" creationId="{3CD98D8D-C83B-1619-65CB-AA73532D10DA}"/>
          </ac:picMkLst>
        </pc:picChg>
        <pc:picChg chg="mod">
          <ac:chgData name="Michiel Henneke" userId="5fec8ce7-8511-47c1-8d17-ae5580718ff0" providerId="ADAL" clId="{46D242F6-A983-4F3E-8618-7E6D3305C206}" dt="2023-09-29T09:17:10.921" v="2797" actId="1076"/>
          <ac:picMkLst>
            <pc:docMk/>
            <pc:sldMk cId="2841845916" sldId="1671"/>
            <ac:picMk id="1026" creationId="{3E2FEFD8-9DD7-46AC-9D96-E20186E8532D}"/>
          </ac:picMkLst>
        </pc:picChg>
        <pc:picChg chg="mod">
          <ac:chgData name="Michiel Henneke" userId="5fec8ce7-8511-47c1-8d17-ae5580718ff0" providerId="ADAL" clId="{46D242F6-A983-4F3E-8618-7E6D3305C206}" dt="2023-09-29T09:17:10.921" v="2797" actId="1076"/>
          <ac:picMkLst>
            <pc:docMk/>
            <pc:sldMk cId="2841845916" sldId="1671"/>
            <ac:picMk id="1028" creationId="{52DC2FF5-735B-49C5-8EC6-0CB9F04B794F}"/>
          </ac:picMkLst>
        </pc:picChg>
        <pc:picChg chg="mod">
          <ac:chgData name="Michiel Henneke" userId="5fec8ce7-8511-47c1-8d17-ae5580718ff0" providerId="ADAL" clId="{46D242F6-A983-4F3E-8618-7E6D3305C206}" dt="2023-09-29T09:17:10.921" v="2797" actId="1076"/>
          <ac:picMkLst>
            <pc:docMk/>
            <pc:sldMk cId="2841845916" sldId="1671"/>
            <ac:picMk id="1030" creationId="{A1949DB3-44EE-4230-8D35-C86392D8A256}"/>
          </ac:picMkLst>
        </pc:picChg>
        <pc:picChg chg="add del mod">
          <ac:chgData name="Michiel Henneke" userId="5fec8ce7-8511-47c1-8d17-ae5580718ff0" providerId="ADAL" clId="{46D242F6-A983-4F3E-8618-7E6D3305C206}" dt="2023-09-29T09:04:23.426" v="2369" actId="478"/>
          <ac:picMkLst>
            <pc:docMk/>
            <pc:sldMk cId="2841845916" sldId="1671"/>
            <ac:picMk id="1032" creationId="{2159D098-C3EA-444D-A19C-74403F84A1B6}"/>
          </ac:picMkLst>
        </pc:picChg>
        <pc:picChg chg="del mod">
          <ac:chgData name="Michiel Henneke" userId="5fec8ce7-8511-47c1-8d17-ae5580718ff0" providerId="ADAL" clId="{46D242F6-A983-4F3E-8618-7E6D3305C206}" dt="2023-09-29T09:02:46.829" v="2367" actId="478"/>
          <ac:picMkLst>
            <pc:docMk/>
            <pc:sldMk cId="2841845916" sldId="1671"/>
            <ac:picMk id="1034" creationId="{40B9B9AB-7B03-4A33-8582-C039CCA46611}"/>
          </ac:picMkLst>
        </pc:picChg>
        <pc:picChg chg="add mod">
          <ac:chgData name="Michiel Henneke" userId="5fec8ce7-8511-47c1-8d17-ae5580718ff0" providerId="ADAL" clId="{46D242F6-A983-4F3E-8618-7E6D3305C206}" dt="2023-09-29T09:13:50.359" v="2556" actId="1076"/>
          <ac:picMkLst>
            <pc:docMk/>
            <pc:sldMk cId="2841845916" sldId="1671"/>
            <ac:picMk id="1036" creationId="{0E3B2E35-1847-9B20-4704-F734E8622254}"/>
          </ac:picMkLst>
        </pc:picChg>
        <pc:picChg chg="add mod">
          <ac:chgData name="Michiel Henneke" userId="5fec8ce7-8511-47c1-8d17-ae5580718ff0" providerId="ADAL" clId="{46D242F6-A983-4F3E-8618-7E6D3305C206}" dt="2023-09-29T09:17:10.921" v="2797" actId="1076"/>
          <ac:picMkLst>
            <pc:docMk/>
            <pc:sldMk cId="2841845916" sldId="1671"/>
            <ac:picMk id="1038" creationId="{3511C00D-CDFF-64AC-D47F-7DF60ECCCB6E}"/>
          </ac:picMkLst>
        </pc:picChg>
        <pc:picChg chg="add mod">
          <ac:chgData name="Michiel Henneke" userId="5fec8ce7-8511-47c1-8d17-ae5580718ff0" providerId="ADAL" clId="{46D242F6-A983-4F3E-8618-7E6D3305C206}" dt="2023-09-29T09:17:10.921" v="2797" actId="1076"/>
          <ac:picMkLst>
            <pc:docMk/>
            <pc:sldMk cId="2841845916" sldId="1671"/>
            <ac:picMk id="1040" creationId="{3D969CE5-CE3A-CCC0-BF4D-DF6C83DE94F1}"/>
          </ac:picMkLst>
        </pc:picChg>
        <pc:picChg chg="add mod">
          <ac:chgData name="Michiel Henneke" userId="5fec8ce7-8511-47c1-8d17-ae5580718ff0" providerId="ADAL" clId="{46D242F6-A983-4F3E-8618-7E6D3305C206}" dt="2023-09-29T09:17:10.921" v="2797" actId="1076"/>
          <ac:picMkLst>
            <pc:docMk/>
            <pc:sldMk cId="2841845916" sldId="1671"/>
            <ac:picMk id="1042" creationId="{44147FD3-8134-D658-B832-9FEA1277A2E4}"/>
          </ac:picMkLst>
        </pc:picChg>
        <pc:cxnChg chg="add mod">
          <ac:chgData name="Michiel Henneke" userId="5fec8ce7-8511-47c1-8d17-ae5580718ff0" providerId="ADAL" clId="{46D242F6-A983-4F3E-8618-7E6D3305C206}" dt="2023-09-29T09:17:10.921" v="2797" actId="1076"/>
          <ac:cxnSpMkLst>
            <pc:docMk/>
            <pc:sldMk cId="2841845916" sldId="1671"/>
            <ac:cxnSpMk id="20" creationId="{04EA0776-A786-0294-3343-A6969DE422C8}"/>
          </ac:cxnSpMkLst>
        </pc:cxnChg>
        <pc:cxnChg chg="add mod">
          <ac:chgData name="Michiel Henneke" userId="5fec8ce7-8511-47c1-8d17-ae5580718ff0" providerId="ADAL" clId="{46D242F6-A983-4F3E-8618-7E6D3305C206}" dt="2023-09-29T09:17:10.921" v="2797" actId="1076"/>
          <ac:cxnSpMkLst>
            <pc:docMk/>
            <pc:sldMk cId="2841845916" sldId="1671"/>
            <ac:cxnSpMk id="21" creationId="{61648010-0081-BA9E-C3EA-AAB4BDFC14B3}"/>
          </ac:cxnSpMkLst>
        </pc:cxnChg>
        <pc:cxnChg chg="mod">
          <ac:chgData name="Michiel Henneke" userId="5fec8ce7-8511-47c1-8d17-ae5580718ff0" providerId="ADAL" clId="{46D242F6-A983-4F3E-8618-7E6D3305C206}" dt="2023-09-29T09:13:50.359" v="2556" actId="1076"/>
          <ac:cxnSpMkLst>
            <pc:docMk/>
            <pc:sldMk cId="2841845916" sldId="1671"/>
            <ac:cxnSpMk id="61" creationId="{2AB220E8-C0E0-4A0B-8D52-EE7099314A57}"/>
          </ac:cxnSpMkLst>
        </pc:cxnChg>
        <pc:cxnChg chg="del mod">
          <ac:chgData name="Michiel Henneke" userId="5fec8ce7-8511-47c1-8d17-ae5580718ff0" providerId="ADAL" clId="{46D242F6-A983-4F3E-8618-7E6D3305C206}" dt="2023-09-29T09:05:31.780" v="2402" actId="478"/>
          <ac:cxnSpMkLst>
            <pc:docMk/>
            <pc:sldMk cId="2841845916" sldId="1671"/>
            <ac:cxnSpMk id="63" creationId="{5B0ECEAF-7314-40B4-A91B-2C498311FDA3}"/>
          </ac:cxnSpMkLst>
        </pc:cxnChg>
        <pc:cxnChg chg="mod">
          <ac:chgData name="Michiel Henneke" userId="5fec8ce7-8511-47c1-8d17-ae5580718ff0" providerId="ADAL" clId="{46D242F6-A983-4F3E-8618-7E6D3305C206}" dt="2023-09-29T09:17:04.461" v="2796" actId="14100"/>
          <ac:cxnSpMkLst>
            <pc:docMk/>
            <pc:sldMk cId="2841845916" sldId="1671"/>
            <ac:cxnSpMk id="67" creationId="{41AEB3B0-D804-40A9-8B69-B524E786430A}"/>
          </ac:cxnSpMkLst>
        </pc:cxnChg>
        <pc:cxnChg chg="mod">
          <ac:chgData name="Michiel Henneke" userId="5fec8ce7-8511-47c1-8d17-ae5580718ff0" providerId="ADAL" clId="{46D242F6-A983-4F3E-8618-7E6D3305C206}" dt="2023-09-29T09:17:10.921" v="2797" actId="1076"/>
          <ac:cxnSpMkLst>
            <pc:docMk/>
            <pc:sldMk cId="2841845916" sldId="1671"/>
            <ac:cxnSpMk id="70" creationId="{10C7023E-E34F-4B05-A671-AA4F190D39B4}"/>
          </ac:cxnSpMkLst>
        </pc:cxnChg>
      </pc:sldChg>
      <pc:sldChg chg="modSp new mod">
        <pc:chgData name="Michiel Henneke" userId="5fec8ce7-8511-47c1-8d17-ae5580718ff0" providerId="ADAL" clId="{46D242F6-A983-4F3E-8618-7E6D3305C206}" dt="2023-09-29T09:31:48.992" v="3841" actId="20577"/>
        <pc:sldMkLst>
          <pc:docMk/>
          <pc:sldMk cId="2117127857" sldId="1672"/>
        </pc:sldMkLst>
        <pc:spChg chg="mod">
          <ac:chgData name="Michiel Henneke" userId="5fec8ce7-8511-47c1-8d17-ae5580718ff0" providerId="ADAL" clId="{46D242F6-A983-4F3E-8618-7E6D3305C206}" dt="2023-09-29T09:30:01.019" v="3618" actId="20577"/>
          <ac:spMkLst>
            <pc:docMk/>
            <pc:sldMk cId="2117127857" sldId="1672"/>
            <ac:spMk id="2" creationId="{60936916-3520-809D-561E-DB5085E33A0E}"/>
          </ac:spMkLst>
        </pc:spChg>
        <pc:spChg chg="mod">
          <ac:chgData name="Michiel Henneke" userId="5fec8ce7-8511-47c1-8d17-ae5580718ff0" providerId="ADAL" clId="{46D242F6-A983-4F3E-8618-7E6D3305C206}" dt="2023-09-29T09:31:48.992" v="3841" actId="20577"/>
          <ac:spMkLst>
            <pc:docMk/>
            <pc:sldMk cId="2117127857" sldId="1672"/>
            <ac:spMk id="3" creationId="{FA23229F-28CD-5BF5-9F03-18605C3770EB}"/>
          </ac:spMkLst>
        </pc:spChg>
      </pc:sldChg>
    </pc:docChg>
  </pc:docChgLst>
</pc:chgInfo>
</file>

<file path=ppt/comments/modernComment_687_A963209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748DBB7-45FF-41BE-971E-15DE3A9F37C8}" authorId="{3CCE29FC-9E45-AB90-0A01-1FAEBFDE73F2}" status="resolved" created="2022-04-05T17:19:15.047">
    <pc:sldMkLst xmlns:pc="http://schemas.microsoft.com/office/powerpoint/2013/main/command">
      <pc:docMk/>
      <pc:sldMk cId="2841845916" sldId="1671"/>
    </pc:sldMkLst>
    <p188:txBody>
      <a:bodyPr/>
      <a:lstStyle/>
      <a:p>
        <a:r>
          <a:rPr lang="nl-NL"/>
          <a:t>Hoe is de rolverdeling tussen registrar en SIDN bij de ID Controle? Wie doet wat in dit proces en wat is het verschil tussen ID controle en ID controle 1?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4232DE-8C5F-4178-AA73-5BBFA247078F}" type="datetimeFigureOut">
              <a:rPr lang="nl-NL" smtClean="0"/>
              <a:t>2-10-2023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10F3A7-C9E4-4071-B2F5-015428B6B44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476737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62EBAE-29D1-4DD0-8BEB-0AC11FD72FA6}" type="datetimeFigureOut">
              <a:rPr lang="en-GB" smtClean="0"/>
              <a:t>02/10/2023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5642C7-031D-4E40-B5EB-9465C999AF8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0158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5642C7-031D-4E40-B5EB-9465C999AF82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3596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6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bl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8" name="Tekstvak 7"/>
          <p:cNvSpPr txBox="1"/>
          <p:nvPr userDrawn="1"/>
        </p:nvSpPr>
        <p:spPr>
          <a:xfrm>
            <a:off x="9296400" y="-520700"/>
            <a:ext cx="2895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NL" dirty="0">
                <a:solidFill>
                  <a:srgbClr val="656565"/>
                </a:solidFill>
              </a:rPr>
              <a:t>Voorblad</a:t>
            </a:r>
          </a:p>
        </p:txBody>
      </p:sp>
      <p:sp>
        <p:nvSpPr>
          <p:cNvPr id="10" name="Vrije vorm: vorm 9">
            <a:extLst>
              <a:ext uri="{FF2B5EF4-FFF2-40B4-BE49-F238E27FC236}">
                <a16:creationId xmlns:a16="http://schemas.microsoft.com/office/drawing/2014/main" id="{81EF7768-596B-4496-A8A5-4E8BE78C9CBA}"/>
              </a:ext>
            </a:extLst>
          </p:cNvPr>
          <p:cNvSpPr/>
          <p:nvPr/>
        </p:nvSpPr>
        <p:spPr>
          <a:xfrm>
            <a:off x="506554" y="774794"/>
            <a:ext cx="11152662" cy="5310910"/>
          </a:xfrm>
          <a:custGeom>
            <a:avLst/>
            <a:gdLst>
              <a:gd name="connsiteX0" fmla="*/ 0 w 11152662"/>
              <a:gd name="connsiteY0" fmla="*/ 0 h 5310910"/>
              <a:gd name="connsiteX1" fmla="*/ 11152662 w 11152662"/>
              <a:gd name="connsiteY1" fmla="*/ 0 h 5310910"/>
              <a:gd name="connsiteX2" fmla="*/ 11152662 w 11152662"/>
              <a:gd name="connsiteY2" fmla="*/ 5310910 h 5310910"/>
              <a:gd name="connsiteX3" fmla="*/ 0 w 11152662"/>
              <a:gd name="connsiteY3" fmla="*/ 5310910 h 5310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52662" h="5310910">
                <a:moveTo>
                  <a:pt x="0" y="0"/>
                </a:moveTo>
                <a:lnTo>
                  <a:pt x="11152662" y="0"/>
                </a:lnTo>
                <a:lnTo>
                  <a:pt x="11152662" y="5310910"/>
                </a:lnTo>
                <a:lnTo>
                  <a:pt x="0" y="5310910"/>
                </a:lnTo>
                <a:close/>
              </a:path>
            </a:pathLst>
          </a:custGeom>
          <a:noFill/>
          <a:ln w="62418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grpSp>
        <p:nvGrpSpPr>
          <p:cNvPr id="62" name="Groep 61">
            <a:extLst>
              <a:ext uri="{FF2B5EF4-FFF2-40B4-BE49-F238E27FC236}">
                <a16:creationId xmlns:a16="http://schemas.microsoft.com/office/drawing/2014/main" id="{718A8A1D-AF9D-4953-9A46-54D5507ABB7F}"/>
              </a:ext>
            </a:extLst>
          </p:cNvPr>
          <p:cNvGrpSpPr/>
          <p:nvPr userDrawn="1"/>
        </p:nvGrpSpPr>
        <p:grpSpPr>
          <a:xfrm>
            <a:off x="1814173" y="1966063"/>
            <a:ext cx="8563654" cy="2925875"/>
            <a:chOff x="850039" y="1660338"/>
            <a:chExt cx="10362021" cy="3540309"/>
          </a:xfrm>
        </p:grpSpPr>
        <p:grpSp>
          <p:nvGrpSpPr>
            <p:cNvPr id="11" name="Graphic 2">
              <a:extLst>
                <a:ext uri="{FF2B5EF4-FFF2-40B4-BE49-F238E27FC236}">
                  <a16:creationId xmlns:a16="http://schemas.microsoft.com/office/drawing/2014/main" id="{B835F839-9AD1-4FAE-A8B3-4A841279A05A}"/>
                </a:ext>
              </a:extLst>
            </p:cNvPr>
            <p:cNvGrpSpPr/>
            <p:nvPr/>
          </p:nvGrpSpPr>
          <p:grpSpPr>
            <a:xfrm>
              <a:off x="850039" y="1660338"/>
              <a:ext cx="4623650" cy="3540309"/>
              <a:chOff x="850039" y="1660338"/>
              <a:chExt cx="4623650" cy="3540309"/>
            </a:xfrm>
          </p:grpSpPr>
          <p:grpSp>
            <p:nvGrpSpPr>
              <p:cNvPr id="12" name="Graphic 2">
                <a:extLst>
                  <a:ext uri="{FF2B5EF4-FFF2-40B4-BE49-F238E27FC236}">
                    <a16:creationId xmlns:a16="http://schemas.microsoft.com/office/drawing/2014/main" id="{B835F839-9AD1-4FAE-A8B3-4A841279A05A}"/>
                  </a:ext>
                </a:extLst>
              </p:cNvPr>
              <p:cNvGrpSpPr/>
              <p:nvPr/>
            </p:nvGrpSpPr>
            <p:grpSpPr>
              <a:xfrm>
                <a:off x="850039" y="1660338"/>
                <a:ext cx="4623650" cy="3540309"/>
                <a:chOff x="850039" y="1660338"/>
                <a:chExt cx="4623650" cy="3540309"/>
              </a:xfrm>
            </p:grpSpPr>
            <p:sp>
              <p:nvSpPr>
                <p:cNvPr id="13" name="Vrije vorm: vorm 12">
                  <a:extLst>
                    <a:ext uri="{FF2B5EF4-FFF2-40B4-BE49-F238E27FC236}">
                      <a16:creationId xmlns:a16="http://schemas.microsoft.com/office/drawing/2014/main" id="{41550EE1-4E32-4294-9401-2990F680F653}"/>
                    </a:ext>
                  </a:extLst>
                </p:cNvPr>
                <p:cNvSpPr/>
                <p:nvPr/>
              </p:nvSpPr>
              <p:spPr>
                <a:xfrm>
                  <a:off x="3957646" y="1672227"/>
                  <a:ext cx="869955" cy="1969108"/>
                </a:xfrm>
                <a:custGeom>
                  <a:avLst/>
                  <a:gdLst>
                    <a:gd name="connsiteX0" fmla="*/ 869955 w 869955"/>
                    <a:gd name="connsiteY0" fmla="*/ 1969109 h 1969108"/>
                    <a:gd name="connsiteX1" fmla="*/ 0 w 869955"/>
                    <a:gd name="connsiteY1" fmla="*/ 0 h 1969108"/>
                    <a:gd name="connsiteX2" fmla="*/ 595792 w 869955"/>
                    <a:gd name="connsiteY2" fmla="*/ 92429 h 1969108"/>
                    <a:gd name="connsiteX3" fmla="*/ 869955 w 869955"/>
                    <a:gd name="connsiteY3" fmla="*/ 1969109 h 19691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69955" h="1969108">
                      <a:moveTo>
                        <a:pt x="869955" y="1969109"/>
                      </a:moveTo>
                      <a:cubicBezTo>
                        <a:pt x="660741" y="1289632"/>
                        <a:pt x="241689" y="465891"/>
                        <a:pt x="0" y="0"/>
                      </a:cubicBezTo>
                      <a:cubicBezTo>
                        <a:pt x="224827" y="16238"/>
                        <a:pt x="402815" y="41218"/>
                        <a:pt x="595792" y="92429"/>
                      </a:cubicBezTo>
                      <a:cubicBezTo>
                        <a:pt x="597665" y="552699"/>
                        <a:pt x="834358" y="1341467"/>
                        <a:pt x="869955" y="1969109"/>
                      </a:cubicBezTo>
                      <a:close/>
                    </a:path>
                  </a:pathLst>
                </a:custGeom>
                <a:solidFill>
                  <a:srgbClr val="15B4B6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4" name="Vrije vorm: vorm 13">
                  <a:extLst>
                    <a:ext uri="{FF2B5EF4-FFF2-40B4-BE49-F238E27FC236}">
                      <a16:creationId xmlns:a16="http://schemas.microsoft.com/office/drawing/2014/main" id="{6F6DB979-8D86-4450-85C2-8786F67CD212}"/>
                    </a:ext>
                  </a:extLst>
                </p:cNvPr>
                <p:cNvSpPr/>
                <p:nvPr/>
              </p:nvSpPr>
              <p:spPr>
                <a:xfrm>
                  <a:off x="850039" y="2770132"/>
                  <a:ext cx="876200" cy="1321482"/>
                </a:xfrm>
                <a:custGeom>
                  <a:avLst/>
                  <a:gdLst>
                    <a:gd name="connsiteX0" fmla="*/ 2498 w 876200"/>
                    <a:gd name="connsiteY0" fmla="*/ 1245916 h 1321482"/>
                    <a:gd name="connsiteX1" fmla="*/ 2498 w 876200"/>
                    <a:gd name="connsiteY1" fmla="*/ 966756 h 1321482"/>
                    <a:gd name="connsiteX2" fmla="*/ 343486 w 876200"/>
                    <a:gd name="connsiteY2" fmla="*/ 1057935 h 1321482"/>
                    <a:gd name="connsiteX3" fmla="*/ 539585 w 876200"/>
                    <a:gd name="connsiteY3" fmla="*/ 938028 h 1321482"/>
                    <a:gd name="connsiteX4" fmla="*/ 252306 w 876200"/>
                    <a:gd name="connsiteY4" fmla="*/ 750047 h 1321482"/>
                    <a:gd name="connsiteX5" fmla="*/ 0 w 876200"/>
                    <a:gd name="connsiteY5" fmla="*/ 380332 h 1321482"/>
                    <a:gd name="connsiteX6" fmla="*/ 465267 w 876200"/>
                    <a:gd name="connsiteY6" fmla="*/ 0 h 1321482"/>
                    <a:gd name="connsiteX7" fmla="*/ 796262 w 876200"/>
                    <a:gd name="connsiteY7" fmla="*/ 58080 h 1321482"/>
                    <a:gd name="connsiteX8" fmla="*/ 796262 w 876200"/>
                    <a:gd name="connsiteY8" fmla="*/ 330995 h 1321482"/>
                    <a:gd name="connsiteX9" fmla="*/ 490248 w 876200"/>
                    <a:gd name="connsiteY9" fmla="*/ 260424 h 1321482"/>
                    <a:gd name="connsiteX10" fmla="*/ 318505 w 876200"/>
                    <a:gd name="connsiteY10" fmla="*/ 367842 h 1321482"/>
                    <a:gd name="connsiteX11" fmla="*/ 508359 w 876200"/>
                    <a:gd name="connsiteY11" fmla="*/ 512730 h 1321482"/>
                    <a:gd name="connsiteX12" fmla="*/ 876200 w 876200"/>
                    <a:gd name="connsiteY12" fmla="*/ 924288 h 1321482"/>
                    <a:gd name="connsiteX13" fmla="*/ 400941 w 876200"/>
                    <a:gd name="connsiteY13" fmla="*/ 1321482 h 1321482"/>
                    <a:gd name="connsiteX14" fmla="*/ 2498 w 876200"/>
                    <a:gd name="connsiteY14" fmla="*/ 1245916 h 13214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876200" h="1321482">
                      <a:moveTo>
                        <a:pt x="2498" y="1245916"/>
                      </a:moveTo>
                      <a:lnTo>
                        <a:pt x="2498" y="966756"/>
                      </a:lnTo>
                      <a:cubicBezTo>
                        <a:pt x="97425" y="1012345"/>
                        <a:pt x="215459" y="1057935"/>
                        <a:pt x="343486" y="1057935"/>
                      </a:cubicBezTo>
                      <a:cubicBezTo>
                        <a:pt x="479631" y="1057935"/>
                        <a:pt x="539585" y="1012345"/>
                        <a:pt x="539585" y="938028"/>
                      </a:cubicBezTo>
                      <a:cubicBezTo>
                        <a:pt x="539585" y="838729"/>
                        <a:pt x="450903" y="836855"/>
                        <a:pt x="252306" y="750047"/>
                      </a:cubicBezTo>
                      <a:cubicBezTo>
                        <a:pt x="121781" y="694465"/>
                        <a:pt x="0" y="595167"/>
                        <a:pt x="0" y="380332"/>
                      </a:cubicBezTo>
                      <a:cubicBezTo>
                        <a:pt x="0" y="119908"/>
                        <a:pt x="196099" y="0"/>
                        <a:pt x="465267" y="0"/>
                      </a:cubicBezTo>
                      <a:cubicBezTo>
                        <a:pt x="607657" y="0"/>
                        <a:pt x="723818" y="31226"/>
                        <a:pt x="796262" y="58080"/>
                      </a:cubicBezTo>
                      <a:lnTo>
                        <a:pt x="796262" y="330995"/>
                      </a:lnTo>
                      <a:cubicBezTo>
                        <a:pt x="730063" y="299769"/>
                        <a:pt x="610155" y="260424"/>
                        <a:pt x="490248" y="260424"/>
                      </a:cubicBezTo>
                      <a:cubicBezTo>
                        <a:pt x="372213" y="260424"/>
                        <a:pt x="318505" y="299769"/>
                        <a:pt x="318505" y="367842"/>
                      </a:cubicBezTo>
                      <a:cubicBezTo>
                        <a:pt x="318505" y="442159"/>
                        <a:pt x="389075" y="469014"/>
                        <a:pt x="508359" y="512730"/>
                      </a:cubicBezTo>
                      <a:cubicBezTo>
                        <a:pt x="705082" y="583301"/>
                        <a:pt x="876200" y="659492"/>
                        <a:pt x="876200" y="924288"/>
                      </a:cubicBezTo>
                      <a:cubicBezTo>
                        <a:pt x="876200" y="1186586"/>
                        <a:pt x="669484" y="1321482"/>
                        <a:pt x="400941" y="1321482"/>
                      </a:cubicBezTo>
                      <a:cubicBezTo>
                        <a:pt x="233570" y="1320858"/>
                        <a:pt x="105544" y="1291505"/>
                        <a:pt x="2498" y="1245916"/>
                      </a:cubicBezTo>
                      <a:close/>
                    </a:path>
                  </a:pathLst>
                </a:custGeom>
                <a:solidFill>
                  <a:srgbClr val="1961AC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5" name="Vrije vorm: vorm 14">
                  <a:extLst>
                    <a:ext uri="{FF2B5EF4-FFF2-40B4-BE49-F238E27FC236}">
                      <a16:creationId xmlns:a16="http://schemas.microsoft.com/office/drawing/2014/main" id="{48BE5487-4FBC-4FEA-9DFB-7FA01392A461}"/>
                    </a:ext>
                  </a:extLst>
                </p:cNvPr>
                <p:cNvSpPr/>
                <p:nvPr/>
              </p:nvSpPr>
              <p:spPr>
                <a:xfrm>
                  <a:off x="1981043" y="1994479"/>
                  <a:ext cx="1990342" cy="1646232"/>
                </a:xfrm>
                <a:custGeom>
                  <a:avLst/>
                  <a:gdLst>
                    <a:gd name="connsiteX0" fmla="*/ 1990342 w 1990342"/>
                    <a:gd name="connsiteY0" fmla="*/ 1644983 h 1646232"/>
                    <a:gd name="connsiteX1" fmla="*/ 1990342 w 1990342"/>
                    <a:gd name="connsiteY1" fmla="*/ 1067928 h 1646232"/>
                    <a:gd name="connsiteX2" fmla="*/ 382830 w 1990342"/>
                    <a:gd name="connsiteY2" fmla="*/ 0 h 1646232"/>
                    <a:gd name="connsiteX3" fmla="*/ 0 w 1990342"/>
                    <a:gd name="connsiteY3" fmla="*/ 793139 h 1646232"/>
                    <a:gd name="connsiteX4" fmla="*/ 322252 w 1990342"/>
                    <a:gd name="connsiteY4" fmla="*/ 793139 h 1646232"/>
                    <a:gd name="connsiteX5" fmla="*/ 322252 w 1990342"/>
                    <a:gd name="connsiteY5" fmla="*/ 1646232 h 1646232"/>
                    <a:gd name="connsiteX6" fmla="*/ 638259 w 1990342"/>
                    <a:gd name="connsiteY6" fmla="*/ 1646232 h 1646232"/>
                    <a:gd name="connsiteX7" fmla="*/ 638259 w 1990342"/>
                    <a:gd name="connsiteY7" fmla="*/ 793139 h 1646232"/>
                    <a:gd name="connsiteX8" fmla="*/ 1107897 w 1990342"/>
                    <a:gd name="connsiteY8" fmla="*/ 793139 h 1646232"/>
                    <a:gd name="connsiteX9" fmla="*/ 1754899 w 1990342"/>
                    <a:gd name="connsiteY9" fmla="*/ 1435769 h 1646232"/>
                    <a:gd name="connsiteX10" fmla="*/ 1727420 w 1990342"/>
                    <a:gd name="connsiteY10" fmla="*/ 1644983 h 1646232"/>
                    <a:gd name="connsiteX11" fmla="*/ 1990342 w 1990342"/>
                    <a:gd name="connsiteY11" fmla="*/ 1644983 h 16462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90342" h="1646232">
                      <a:moveTo>
                        <a:pt x="1990342" y="1644983"/>
                      </a:moveTo>
                      <a:lnTo>
                        <a:pt x="1990342" y="1067928"/>
                      </a:lnTo>
                      <a:cubicBezTo>
                        <a:pt x="1439517" y="708829"/>
                        <a:pt x="846848" y="333493"/>
                        <a:pt x="382830" y="0"/>
                      </a:cubicBezTo>
                      <a:cubicBezTo>
                        <a:pt x="196099" y="169869"/>
                        <a:pt x="59954" y="459021"/>
                        <a:pt x="0" y="793139"/>
                      </a:cubicBezTo>
                      <a:lnTo>
                        <a:pt x="322252" y="793139"/>
                      </a:lnTo>
                      <a:lnTo>
                        <a:pt x="322252" y="1646232"/>
                      </a:lnTo>
                      <a:cubicBezTo>
                        <a:pt x="414681" y="1646232"/>
                        <a:pt x="522098" y="1646232"/>
                        <a:pt x="638259" y="1646232"/>
                      </a:cubicBezTo>
                      <a:lnTo>
                        <a:pt x="638259" y="793139"/>
                      </a:lnTo>
                      <a:lnTo>
                        <a:pt x="1107897" y="793139"/>
                      </a:lnTo>
                      <a:cubicBezTo>
                        <a:pt x="1581282" y="793139"/>
                        <a:pt x="1754899" y="1103525"/>
                        <a:pt x="1754899" y="1435769"/>
                      </a:cubicBezTo>
                      <a:cubicBezTo>
                        <a:pt x="1754899" y="1505715"/>
                        <a:pt x="1746155" y="1577535"/>
                        <a:pt x="1727420" y="1644983"/>
                      </a:cubicBezTo>
                      <a:cubicBezTo>
                        <a:pt x="1816101" y="1644983"/>
                        <a:pt x="1904159" y="1644983"/>
                        <a:pt x="1990342" y="1644983"/>
                      </a:cubicBezTo>
                      <a:close/>
                    </a:path>
                  </a:pathLst>
                </a:custGeom>
                <a:solidFill>
                  <a:srgbClr val="1961AC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6" name="Vrije vorm: vorm 15">
                  <a:extLst>
                    <a:ext uri="{FF2B5EF4-FFF2-40B4-BE49-F238E27FC236}">
                      <a16:creationId xmlns:a16="http://schemas.microsoft.com/office/drawing/2014/main" id="{B4E13445-7F5E-455C-8514-7DEA4DD029B9}"/>
                    </a:ext>
                  </a:extLst>
                </p:cNvPr>
                <p:cNvSpPr/>
                <p:nvPr/>
              </p:nvSpPr>
              <p:spPr>
                <a:xfrm>
                  <a:off x="1981043" y="3639462"/>
                  <a:ext cx="2632348" cy="1403294"/>
                </a:xfrm>
                <a:custGeom>
                  <a:avLst/>
                  <a:gdLst>
                    <a:gd name="connsiteX0" fmla="*/ 2513690 w 2632348"/>
                    <a:gd name="connsiteY0" fmla="*/ 625 h 1403294"/>
                    <a:gd name="connsiteX1" fmla="*/ 2275748 w 2632348"/>
                    <a:gd name="connsiteY1" fmla="*/ 0 h 1403294"/>
                    <a:gd name="connsiteX2" fmla="*/ 2275748 w 2632348"/>
                    <a:gd name="connsiteY2" fmla="*/ 435290 h 1403294"/>
                    <a:gd name="connsiteX3" fmla="*/ 1990342 w 2632348"/>
                    <a:gd name="connsiteY3" fmla="*/ 435290 h 1403294"/>
                    <a:gd name="connsiteX4" fmla="*/ 1990342 w 2632348"/>
                    <a:gd name="connsiteY4" fmla="*/ 0 h 1403294"/>
                    <a:gd name="connsiteX5" fmla="*/ 1727420 w 2632348"/>
                    <a:gd name="connsiteY5" fmla="*/ 0 h 1403294"/>
                    <a:gd name="connsiteX6" fmla="*/ 1101652 w 2632348"/>
                    <a:gd name="connsiteY6" fmla="*/ 435290 h 1403294"/>
                    <a:gd name="connsiteX7" fmla="*/ 638259 w 2632348"/>
                    <a:gd name="connsiteY7" fmla="*/ 435290 h 1403294"/>
                    <a:gd name="connsiteX8" fmla="*/ 638259 w 2632348"/>
                    <a:gd name="connsiteY8" fmla="*/ 625 h 1403294"/>
                    <a:gd name="connsiteX9" fmla="*/ 322252 w 2632348"/>
                    <a:gd name="connsiteY9" fmla="*/ 625 h 1403294"/>
                    <a:gd name="connsiteX10" fmla="*/ 322252 w 2632348"/>
                    <a:gd name="connsiteY10" fmla="*/ 435290 h 1403294"/>
                    <a:gd name="connsiteX11" fmla="*/ 0 w 2632348"/>
                    <a:gd name="connsiteY11" fmla="*/ 435290 h 1403294"/>
                    <a:gd name="connsiteX12" fmla="*/ 723818 w 2632348"/>
                    <a:gd name="connsiteY12" fmla="*/ 1403294 h 1403294"/>
                    <a:gd name="connsiteX13" fmla="*/ 2632348 w 2632348"/>
                    <a:gd name="connsiteY13" fmla="*/ 190478 h 1403294"/>
                    <a:gd name="connsiteX14" fmla="*/ 2513690 w 2632348"/>
                    <a:gd name="connsiteY14" fmla="*/ 625 h 140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632348" h="1403294">
                      <a:moveTo>
                        <a:pt x="2513690" y="625"/>
                      </a:moveTo>
                      <a:cubicBezTo>
                        <a:pt x="2437498" y="625"/>
                        <a:pt x="2358184" y="625"/>
                        <a:pt x="2275748" y="0"/>
                      </a:cubicBezTo>
                      <a:lnTo>
                        <a:pt x="2275748" y="435290"/>
                      </a:lnTo>
                      <a:lnTo>
                        <a:pt x="1990342" y="435290"/>
                      </a:lnTo>
                      <a:lnTo>
                        <a:pt x="1990342" y="0"/>
                      </a:lnTo>
                      <a:cubicBezTo>
                        <a:pt x="1903534" y="0"/>
                        <a:pt x="1815477" y="0"/>
                        <a:pt x="1727420" y="0"/>
                      </a:cubicBezTo>
                      <a:cubicBezTo>
                        <a:pt x="1663719" y="234819"/>
                        <a:pt x="1478861" y="435290"/>
                        <a:pt x="1101652" y="435290"/>
                      </a:cubicBezTo>
                      <a:lnTo>
                        <a:pt x="638259" y="435290"/>
                      </a:lnTo>
                      <a:lnTo>
                        <a:pt x="638259" y="625"/>
                      </a:lnTo>
                      <a:cubicBezTo>
                        <a:pt x="521473" y="625"/>
                        <a:pt x="414681" y="625"/>
                        <a:pt x="322252" y="625"/>
                      </a:cubicBezTo>
                      <a:lnTo>
                        <a:pt x="322252" y="435290"/>
                      </a:lnTo>
                      <a:lnTo>
                        <a:pt x="0" y="435290"/>
                      </a:lnTo>
                      <a:cubicBezTo>
                        <a:pt x="73069" y="921166"/>
                        <a:pt x="265421" y="1251537"/>
                        <a:pt x="723818" y="1403294"/>
                      </a:cubicBezTo>
                      <a:cubicBezTo>
                        <a:pt x="1320858" y="977997"/>
                        <a:pt x="2065285" y="653247"/>
                        <a:pt x="2632348" y="190478"/>
                      </a:cubicBezTo>
                      <a:lnTo>
                        <a:pt x="2513690" y="625"/>
                      </a:lnTo>
                      <a:close/>
                    </a:path>
                  </a:pathLst>
                </a:custGeom>
                <a:solidFill>
                  <a:srgbClr val="E9511F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7" name="Vrije vorm: vorm 16">
                  <a:extLst>
                    <a:ext uri="{FF2B5EF4-FFF2-40B4-BE49-F238E27FC236}">
                      <a16:creationId xmlns:a16="http://schemas.microsoft.com/office/drawing/2014/main" id="{0B2DD4C7-839F-4DFB-AFEB-230D6A97159A}"/>
                    </a:ext>
                  </a:extLst>
                </p:cNvPr>
                <p:cNvSpPr/>
                <p:nvPr/>
              </p:nvSpPr>
              <p:spPr>
                <a:xfrm>
                  <a:off x="2704861" y="3831190"/>
                  <a:ext cx="1941629" cy="1332723"/>
                </a:xfrm>
                <a:custGeom>
                  <a:avLst/>
                  <a:gdLst>
                    <a:gd name="connsiteX0" fmla="*/ 1908531 w 1941629"/>
                    <a:gd name="connsiteY0" fmla="*/ 0 h 1332723"/>
                    <a:gd name="connsiteX1" fmla="*/ 0 w 1941629"/>
                    <a:gd name="connsiteY1" fmla="*/ 1212816 h 1332723"/>
                    <a:gd name="connsiteX2" fmla="*/ 528343 w 1941629"/>
                    <a:gd name="connsiteY2" fmla="*/ 1332724 h 1332723"/>
                    <a:gd name="connsiteX3" fmla="*/ 1941630 w 1941629"/>
                    <a:gd name="connsiteY3" fmla="*/ 53709 h 1332723"/>
                    <a:gd name="connsiteX4" fmla="*/ 1908531 w 1941629"/>
                    <a:gd name="connsiteY4" fmla="*/ 0 h 13327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41629" h="1332723">
                      <a:moveTo>
                        <a:pt x="1908531" y="0"/>
                      </a:moveTo>
                      <a:cubicBezTo>
                        <a:pt x="1341467" y="462769"/>
                        <a:pt x="597040" y="786894"/>
                        <a:pt x="0" y="1212816"/>
                      </a:cubicBezTo>
                      <a:cubicBezTo>
                        <a:pt x="159877" y="1270896"/>
                        <a:pt x="332244" y="1307743"/>
                        <a:pt x="528343" y="1332724"/>
                      </a:cubicBezTo>
                      <a:cubicBezTo>
                        <a:pt x="968629" y="936154"/>
                        <a:pt x="1525076" y="560818"/>
                        <a:pt x="1941630" y="53709"/>
                      </a:cubicBezTo>
                      <a:lnTo>
                        <a:pt x="1908531" y="0"/>
                      </a:lnTo>
                      <a:close/>
                    </a:path>
                  </a:pathLst>
                </a:custGeom>
                <a:solidFill>
                  <a:srgbClr val="E67D35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8" name="Vrije vorm: vorm 17">
                  <a:extLst>
                    <a:ext uri="{FF2B5EF4-FFF2-40B4-BE49-F238E27FC236}">
                      <a16:creationId xmlns:a16="http://schemas.microsoft.com/office/drawing/2014/main" id="{989CDE31-B22C-44C0-8F84-93912345BC57}"/>
                    </a:ext>
                  </a:extLst>
                </p:cNvPr>
                <p:cNvSpPr/>
                <p:nvPr/>
              </p:nvSpPr>
              <p:spPr>
                <a:xfrm>
                  <a:off x="3233828" y="3884274"/>
                  <a:ext cx="1558799" cy="1316373"/>
                </a:xfrm>
                <a:custGeom>
                  <a:avLst/>
                  <a:gdLst>
                    <a:gd name="connsiteX0" fmla="*/ 1558800 w 1558799"/>
                    <a:gd name="connsiteY0" fmla="*/ 191103 h 1316373"/>
                    <a:gd name="connsiteX1" fmla="*/ 1531945 w 1558799"/>
                    <a:gd name="connsiteY1" fmla="*/ 191103 h 1316373"/>
                    <a:gd name="connsiteX2" fmla="*/ 1413287 w 1558799"/>
                    <a:gd name="connsiteY2" fmla="*/ 0 h 1316373"/>
                    <a:gd name="connsiteX3" fmla="*/ 0 w 1558799"/>
                    <a:gd name="connsiteY3" fmla="*/ 1279015 h 1316373"/>
                    <a:gd name="connsiteX4" fmla="*/ 1445137 w 1558799"/>
                    <a:gd name="connsiteY4" fmla="*/ 1190958 h 1316373"/>
                    <a:gd name="connsiteX5" fmla="*/ 1558800 w 1558799"/>
                    <a:gd name="connsiteY5" fmla="*/ 191103 h 1316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58799" h="1316373">
                      <a:moveTo>
                        <a:pt x="1558800" y="191103"/>
                      </a:moveTo>
                      <a:lnTo>
                        <a:pt x="1531945" y="191103"/>
                      </a:lnTo>
                      <a:lnTo>
                        <a:pt x="1413287" y="0"/>
                      </a:lnTo>
                      <a:cubicBezTo>
                        <a:pt x="997357" y="507109"/>
                        <a:pt x="440911" y="882445"/>
                        <a:pt x="0" y="1279015"/>
                      </a:cubicBezTo>
                      <a:cubicBezTo>
                        <a:pt x="525221" y="1340843"/>
                        <a:pt x="1030457" y="1335222"/>
                        <a:pt x="1445137" y="1190958"/>
                      </a:cubicBezTo>
                      <a:cubicBezTo>
                        <a:pt x="1405793" y="861836"/>
                        <a:pt x="1503218" y="555197"/>
                        <a:pt x="1558800" y="191103"/>
                      </a:cubicBezTo>
                      <a:close/>
                    </a:path>
                  </a:pathLst>
                </a:custGeom>
                <a:solidFill>
                  <a:srgbClr val="682383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19" name="Vrije vorm: vorm 18">
                  <a:extLst>
                    <a:ext uri="{FF2B5EF4-FFF2-40B4-BE49-F238E27FC236}">
                      <a16:creationId xmlns:a16="http://schemas.microsoft.com/office/drawing/2014/main" id="{E7C6636C-6EA7-43E9-A919-81B43B04BF06}"/>
                    </a:ext>
                  </a:extLst>
                </p:cNvPr>
                <p:cNvSpPr/>
                <p:nvPr/>
              </p:nvSpPr>
              <p:spPr>
                <a:xfrm>
                  <a:off x="4669852" y="4075377"/>
                  <a:ext cx="503108" cy="1000479"/>
                </a:xfrm>
                <a:custGeom>
                  <a:avLst/>
                  <a:gdLst>
                    <a:gd name="connsiteX0" fmla="*/ 297641 w 503108"/>
                    <a:gd name="connsiteY0" fmla="*/ 0 h 1000479"/>
                    <a:gd name="connsiteX1" fmla="*/ 122776 w 503108"/>
                    <a:gd name="connsiteY1" fmla="*/ 0 h 1000479"/>
                    <a:gd name="connsiteX2" fmla="*/ 9113 w 503108"/>
                    <a:gd name="connsiteY2" fmla="*/ 1000480 h 1000479"/>
                    <a:gd name="connsiteX3" fmla="*/ 503108 w 503108"/>
                    <a:gd name="connsiteY3" fmla="*/ 641381 h 1000479"/>
                    <a:gd name="connsiteX4" fmla="*/ 297641 w 503108"/>
                    <a:gd name="connsiteY4" fmla="*/ 0 h 10004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3108" h="1000479">
                      <a:moveTo>
                        <a:pt x="297641" y="0"/>
                      </a:moveTo>
                      <a:lnTo>
                        <a:pt x="122776" y="0"/>
                      </a:lnTo>
                      <a:cubicBezTo>
                        <a:pt x="67194" y="364095"/>
                        <a:pt x="-30231" y="671358"/>
                        <a:pt x="9113" y="1000480"/>
                      </a:cubicBezTo>
                      <a:cubicBezTo>
                        <a:pt x="233941" y="920541"/>
                        <a:pt x="375706" y="820618"/>
                        <a:pt x="503108" y="641381"/>
                      </a:cubicBezTo>
                      <a:cubicBezTo>
                        <a:pt x="378829" y="395945"/>
                        <a:pt x="345729" y="204842"/>
                        <a:pt x="297641" y="0"/>
                      </a:cubicBezTo>
                      <a:close/>
                    </a:path>
                  </a:pathLst>
                </a:custGeom>
                <a:solidFill>
                  <a:srgbClr val="2BA9D0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0" name="Vrije vorm: vorm 19">
                  <a:extLst>
                    <a:ext uri="{FF2B5EF4-FFF2-40B4-BE49-F238E27FC236}">
                      <a16:creationId xmlns:a16="http://schemas.microsoft.com/office/drawing/2014/main" id="{065AF522-7874-4A98-8668-4C533BA9351B}"/>
                    </a:ext>
                  </a:extLst>
                </p:cNvPr>
                <p:cNvSpPr/>
                <p:nvPr/>
              </p:nvSpPr>
              <p:spPr>
                <a:xfrm>
                  <a:off x="4967493" y="4024166"/>
                  <a:ext cx="373462" cy="692591"/>
                </a:xfrm>
                <a:custGeom>
                  <a:avLst/>
                  <a:gdLst>
                    <a:gd name="connsiteX0" fmla="*/ 143015 w 373462"/>
                    <a:gd name="connsiteY0" fmla="*/ 0 h 692591"/>
                    <a:gd name="connsiteX1" fmla="*/ 143015 w 373462"/>
                    <a:gd name="connsiteY1" fmla="*/ 51211 h 692591"/>
                    <a:gd name="connsiteX2" fmla="*/ 0 w 373462"/>
                    <a:gd name="connsiteY2" fmla="*/ 51211 h 692591"/>
                    <a:gd name="connsiteX3" fmla="*/ 205467 w 373462"/>
                    <a:gd name="connsiteY3" fmla="*/ 692592 h 692591"/>
                    <a:gd name="connsiteX4" fmla="*/ 373463 w 373462"/>
                    <a:gd name="connsiteY4" fmla="*/ 344735 h 692591"/>
                    <a:gd name="connsiteX5" fmla="*/ 143015 w 373462"/>
                    <a:gd name="connsiteY5" fmla="*/ 0 h 6925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73462" h="692591">
                      <a:moveTo>
                        <a:pt x="143015" y="0"/>
                      </a:moveTo>
                      <a:lnTo>
                        <a:pt x="143015" y="51211"/>
                      </a:lnTo>
                      <a:lnTo>
                        <a:pt x="0" y="51211"/>
                      </a:lnTo>
                      <a:cubicBezTo>
                        <a:pt x="48088" y="256053"/>
                        <a:pt x="81188" y="447780"/>
                        <a:pt x="205467" y="692592"/>
                      </a:cubicBezTo>
                      <a:cubicBezTo>
                        <a:pt x="273539" y="596416"/>
                        <a:pt x="331620" y="472761"/>
                        <a:pt x="373463" y="344735"/>
                      </a:cubicBezTo>
                      <a:cubicBezTo>
                        <a:pt x="266045" y="202969"/>
                        <a:pt x="204218" y="98674"/>
                        <a:pt x="143015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1" name="Vrije vorm: vorm 20">
                  <a:extLst>
                    <a:ext uri="{FF2B5EF4-FFF2-40B4-BE49-F238E27FC236}">
                      <a16:creationId xmlns:a16="http://schemas.microsoft.com/office/drawing/2014/main" id="{BB7B4467-C459-403F-A48E-FF9549E66747}"/>
                    </a:ext>
                  </a:extLst>
                </p:cNvPr>
                <p:cNvSpPr/>
                <p:nvPr/>
              </p:nvSpPr>
              <p:spPr>
                <a:xfrm>
                  <a:off x="5110508" y="3154836"/>
                  <a:ext cx="363180" cy="1213440"/>
                </a:xfrm>
                <a:custGeom>
                  <a:avLst/>
                  <a:gdLst>
                    <a:gd name="connsiteX0" fmla="*/ 358474 w 363180"/>
                    <a:gd name="connsiteY0" fmla="*/ 0 h 1213440"/>
                    <a:gd name="connsiteX1" fmla="*/ 0 w 363180"/>
                    <a:gd name="connsiteY1" fmla="*/ 316007 h 1213440"/>
                    <a:gd name="connsiteX2" fmla="*/ 0 w 363180"/>
                    <a:gd name="connsiteY2" fmla="*/ 868706 h 1213440"/>
                    <a:gd name="connsiteX3" fmla="*/ 229823 w 363180"/>
                    <a:gd name="connsiteY3" fmla="*/ 1213441 h 1213440"/>
                    <a:gd name="connsiteX4" fmla="*/ 358474 w 363180"/>
                    <a:gd name="connsiteY4" fmla="*/ 0 h 12134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3180" h="1213440">
                      <a:moveTo>
                        <a:pt x="358474" y="0"/>
                      </a:moveTo>
                      <a:cubicBezTo>
                        <a:pt x="204842" y="73069"/>
                        <a:pt x="119283" y="203593"/>
                        <a:pt x="0" y="316007"/>
                      </a:cubicBezTo>
                      <a:lnTo>
                        <a:pt x="0" y="868706"/>
                      </a:lnTo>
                      <a:cubicBezTo>
                        <a:pt x="60578" y="968005"/>
                        <a:pt x="123030" y="1071675"/>
                        <a:pt x="229823" y="1213441"/>
                      </a:cubicBezTo>
                      <a:cubicBezTo>
                        <a:pt x="347232" y="846848"/>
                        <a:pt x="375960" y="446531"/>
                        <a:pt x="358474" y="0"/>
                      </a:cubicBezTo>
                      <a:close/>
                    </a:path>
                  </a:pathLst>
                </a:custGeom>
                <a:solidFill>
                  <a:srgbClr val="07903A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2" name="Vrije vorm: vorm 21">
                  <a:extLst>
                    <a:ext uri="{FF2B5EF4-FFF2-40B4-BE49-F238E27FC236}">
                      <a16:creationId xmlns:a16="http://schemas.microsoft.com/office/drawing/2014/main" id="{3982319A-44AE-4CAB-98BC-CE2550FC49E2}"/>
                    </a:ext>
                  </a:extLst>
                </p:cNvPr>
                <p:cNvSpPr/>
                <p:nvPr/>
              </p:nvSpPr>
              <p:spPr>
                <a:xfrm>
                  <a:off x="5111133" y="2973725"/>
                  <a:ext cx="358473" cy="497741"/>
                </a:xfrm>
                <a:custGeom>
                  <a:avLst/>
                  <a:gdLst>
                    <a:gd name="connsiteX0" fmla="*/ 345983 w 358473"/>
                    <a:gd name="connsiteY0" fmla="*/ 0 h 497741"/>
                    <a:gd name="connsiteX1" fmla="*/ 0 w 358473"/>
                    <a:gd name="connsiteY1" fmla="*/ 419052 h 497741"/>
                    <a:gd name="connsiteX2" fmla="*/ 0 w 358473"/>
                    <a:gd name="connsiteY2" fmla="*/ 497742 h 497741"/>
                    <a:gd name="connsiteX3" fmla="*/ 358474 w 358473"/>
                    <a:gd name="connsiteY3" fmla="*/ 181735 h 497741"/>
                    <a:gd name="connsiteX4" fmla="*/ 345983 w 358473"/>
                    <a:gd name="connsiteY4" fmla="*/ 0 h 4977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8473" h="497741">
                      <a:moveTo>
                        <a:pt x="345983" y="0"/>
                      </a:moveTo>
                      <a:cubicBezTo>
                        <a:pt x="194225" y="109915"/>
                        <a:pt x="110540" y="272915"/>
                        <a:pt x="0" y="419052"/>
                      </a:cubicBezTo>
                      <a:lnTo>
                        <a:pt x="0" y="497742"/>
                      </a:lnTo>
                      <a:cubicBezTo>
                        <a:pt x="118658" y="385328"/>
                        <a:pt x="204842" y="254179"/>
                        <a:pt x="358474" y="181735"/>
                      </a:cubicBezTo>
                      <a:cubicBezTo>
                        <a:pt x="355351" y="114912"/>
                        <a:pt x="351604" y="64326"/>
                        <a:pt x="34598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3" name="Vrije vorm: vorm 22">
                  <a:extLst>
                    <a:ext uri="{FF2B5EF4-FFF2-40B4-BE49-F238E27FC236}">
                      <a16:creationId xmlns:a16="http://schemas.microsoft.com/office/drawing/2014/main" id="{2154396C-3F7C-44AD-8C53-5E12B7DAE199}"/>
                    </a:ext>
                  </a:extLst>
                </p:cNvPr>
                <p:cNvSpPr/>
                <p:nvPr/>
              </p:nvSpPr>
              <p:spPr>
                <a:xfrm>
                  <a:off x="5110508" y="2667086"/>
                  <a:ext cx="345983" cy="725066"/>
                </a:xfrm>
                <a:custGeom>
                  <a:avLst/>
                  <a:gdLst>
                    <a:gd name="connsiteX0" fmla="*/ 301018 w 345983"/>
                    <a:gd name="connsiteY0" fmla="*/ 0 h 725066"/>
                    <a:gd name="connsiteX1" fmla="*/ 0 w 345983"/>
                    <a:gd name="connsiteY1" fmla="*/ 543956 h 725066"/>
                    <a:gd name="connsiteX2" fmla="*/ 0 w 345983"/>
                    <a:gd name="connsiteY2" fmla="*/ 725067 h 725066"/>
                    <a:gd name="connsiteX3" fmla="*/ 345984 w 345983"/>
                    <a:gd name="connsiteY3" fmla="*/ 306014 h 725066"/>
                    <a:gd name="connsiteX4" fmla="*/ 301018 w 345983"/>
                    <a:gd name="connsiteY4" fmla="*/ 0 h 725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5983" h="725066">
                      <a:moveTo>
                        <a:pt x="301018" y="0"/>
                      </a:moveTo>
                      <a:cubicBezTo>
                        <a:pt x="163000" y="154881"/>
                        <a:pt x="86808" y="353478"/>
                        <a:pt x="0" y="543956"/>
                      </a:cubicBezTo>
                      <a:lnTo>
                        <a:pt x="0" y="725067"/>
                      </a:lnTo>
                      <a:cubicBezTo>
                        <a:pt x="111164" y="578305"/>
                        <a:pt x="194850" y="415305"/>
                        <a:pt x="345984" y="306014"/>
                      </a:cubicBezTo>
                      <a:cubicBezTo>
                        <a:pt x="336616" y="199222"/>
                        <a:pt x="321627" y="96801"/>
                        <a:pt x="301018" y="0"/>
                      </a:cubicBezTo>
                      <a:close/>
                    </a:path>
                  </a:pathLst>
                </a:custGeom>
                <a:solidFill>
                  <a:srgbClr val="E9511F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4" name="Vrije vorm: vorm 23">
                  <a:extLst>
                    <a:ext uri="{FF2B5EF4-FFF2-40B4-BE49-F238E27FC236}">
                      <a16:creationId xmlns:a16="http://schemas.microsoft.com/office/drawing/2014/main" id="{FD7746F3-FBE3-484C-A968-64134CE5CBBD}"/>
                    </a:ext>
                  </a:extLst>
                </p:cNvPr>
                <p:cNvSpPr/>
                <p:nvPr/>
              </p:nvSpPr>
              <p:spPr>
                <a:xfrm>
                  <a:off x="4975612" y="2087533"/>
                  <a:ext cx="435914" cy="1124134"/>
                </a:xfrm>
                <a:custGeom>
                  <a:avLst/>
                  <a:gdLst>
                    <a:gd name="connsiteX0" fmla="*/ 134896 w 435914"/>
                    <a:gd name="connsiteY0" fmla="*/ 1124134 h 1124134"/>
                    <a:gd name="connsiteX1" fmla="*/ 435915 w 435914"/>
                    <a:gd name="connsiteY1" fmla="*/ 580178 h 1124134"/>
                    <a:gd name="connsiteX2" fmla="*/ 429045 w 435914"/>
                    <a:gd name="connsiteY2" fmla="*/ 548328 h 1124134"/>
                    <a:gd name="connsiteX3" fmla="*/ 163624 w 435914"/>
                    <a:gd name="connsiteY3" fmla="*/ 0 h 1124134"/>
                    <a:gd name="connsiteX4" fmla="*/ 0 w 435914"/>
                    <a:gd name="connsiteY4" fmla="*/ 700710 h 1124134"/>
                    <a:gd name="connsiteX5" fmla="*/ 134896 w 435914"/>
                    <a:gd name="connsiteY5" fmla="*/ 700710 h 1124134"/>
                    <a:gd name="connsiteX6" fmla="*/ 134896 w 435914"/>
                    <a:gd name="connsiteY6" fmla="*/ 1099778 h 1124134"/>
                    <a:gd name="connsiteX7" fmla="*/ 134896 w 435914"/>
                    <a:gd name="connsiteY7" fmla="*/ 1124134 h 1124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35914" h="1124134">
                      <a:moveTo>
                        <a:pt x="134896" y="1124134"/>
                      </a:moveTo>
                      <a:cubicBezTo>
                        <a:pt x="221704" y="933656"/>
                        <a:pt x="297896" y="734434"/>
                        <a:pt x="435915" y="580178"/>
                      </a:cubicBezTo>
                      <a:cubicBezTo>
                        <a:pt x="431543" y="560818"/>
                        <a:pt x="433416" y="567063"/>
                        <a:pt x="429045" y="548328"/>
                      </a:cubicBezTo>
                      <a:cubicBezTo>
                        <a:pt x="375961" y="318505"/>
                        <a:pt x="297896" y="145513"/>
                        <a:pt x="163624" y="0"/>
                      </a:cubicBezTo>
                      <a:cubicBezTo>
                        <a:pt x="69946" y="199846"/>
                        <a:pt x="31226" y="446531"/>
                        <a:pt x="0" y="700710"/>
                      </a:cubicBezTo>
                      <a:lnTo>
                        <a:pt x="134896" y="700710"/>
                      </a:lnTo>
                      <a:lnTo>
                        <a:pt x="134896" y="1099778"/>
                      </a:lnTo>
                      <a:lnTo>
                        <a:pt x="134896" y="1124134"/>
                      </a:lnTo>
                      <a:close/>
                    </a:path>
                  </a:pathLst>
                </a:custGeom>
                <a:solidFill>
                  <a:srgbClr val="0C2C65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5" name="Vrije vorm: vorm 24">
                  <a:extLst>
                    <a:ext uri="{FF2B5EF4-FFF2-40B4-BE49-F238E27FC236}">
                      <a16:creationId xmlns:a16="http://schemas.microsoft.com/office/drawing/2014/main" id="{E9A324D3-966E-40E7-A639-DC9F717CFB7F}"/>
                    </a:ext>
                  </a:extLst>
                </p:cNvPr>
                <p:cNvSpPr/>
                <p:nvPr/>
              </p:nvSpPr>
              <p:spPr>
                <a:xfrm>
                  <a:off x="4868195" y="1928280"/>
                  <a:ext cx="271041" cy="859338"/>
                </a:xfrm>
                <a:custGeom>
                  <a:avLst/>
                  <a:gdLst>
                    <a:gd name="connsiteX0" fmla="*/ 107417 w 271041"/>
                    <a:gd name="connsiteY0" fmla="*/ 859338 h 859338"/>
                    <a:gd name="connsiteX1" fmla="*/ 271042 w 271041"/>
                    <a:gd name="connsiteY1" fmla="*/ 158628 h 859338"/>
                    <a:gd name="connsiteX2" fmla="*/ 78690 w 271041"/>
                    <a:gd name="connsiteY2" fmla="*/ 0 h 859338"/>
                    <a:gd name="connsiteX3" fmla="*/ 0 w 271041"/>
                    <a:gd name="connsiteY3" fmla="*/ 859338 h 859338"/>
                    <a:gd name="connsiteX4" fmla="*/ 107417 w 271041"/>
                    <a:gd name="connsiteY4" fmla="*/ 859338 h 859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1041" h="859338">
                      <a:moveTo>
                        <a:pt x="107417" y="859338"/>
                      </a:moveTo>
                      <a:cubicBezTo>
                        <a:pt x="138019" y="605159"/>
                        <a:pt x="176739" y="358474"/>
                        <a:pt x="271042" y="158628"/>
                      </a:cubicBezTo>
                      <a:cubicBezTo>
                        <a:pt x="215459" y="98050"/>
                        <a:pt x="151758" y="45590"/>
                        <a:pt x="78690" y="0"/>
                      </a:cubicBezTo>
                      <a:cubicBezTo>
                        <a:pt x="3747" y="235444"/>
                        <a:pt x="0" y="542707"/>
                        <a:pt x="0" y="859338"/>
                      </a:cubicBezTo>
                      <a:lnTo>
                        <a:pt x="107417" y="859338"/>
                      </a:lnTo>
                      <a:close/>
                    </a:path>
                  </a:pathLst>
                </a:custGeom>
                <a:solidFill>
                  <a:srgbClr val="4DB374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6" name="Vrije vorm: vorm 25">
                  <a:extLst>
                    <a:ext uri="{FF2B5EF4-FFF2-40B4-BE49-F238E27FC236}">
                      <a16:creationId xmlns:a16="http://schemas.microsoft.com/office/drawing/2014/main" id="{F0DAEAB5-070E-48D6-B19E-EB715B45C425}"/>
                    </a:ext>
                  </a:extLst>
                </p:cNvPr>
                <p:cNvSpPr/>
                <p:nvPr/>
              </p:nvSpPr>
              <p:spPr>
                <a:xfrm>
                  <a:off x="4822125" y="1885813"/>
                  <a:ext cx="74797" cy="902430"/>
                </a:xfrm>
                <a:custGeom>
                  <a:avLst/>
                  <a:gdLst>
                    <a:gd name="connsiteX0" fmla="*/ 22338 w 74797"/>
                    <a:gd name="connsiteY0" fmla="*/ 901805 h 902430"/>
                    <a:gd name="connsiteX1" fmla="*/ 74798 w 74797"/>
                    <a:gd name="connsiteY1" fmla="*/ 13739 h 902430"/>
                    <a:gd name="connsiteX2" fmla="*/ 49192 w 74797"/>
                    <a:gd name="connsiteY2" fmla="*/ 0 h 902430"/>
                    <a:gd name="connsiteX3" fmla="*/ 10472 w 74797"/>
                    <a:gd name="connsiteY3" fmla="*/ 902430 h 902430"/>
                    <a:gd name="connsiteX4" fmla="*/ 22338 w 74797"/>
                    <a:gd name="connsiteY4" fmla="*/ 902430 h 9024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797" h="902430">
                      <a:moveTo>
                        <a:pt x="22338" y="901805"/>
                      </a:moveTo>
                      <a:cubicBezTo>
                        <a:pt x="13595" y="573308"/>
                        <a:pt x="7974" y="254804"/>
                        <a:pt x="74798" y="13739"/>
                      </a:cubicBezTo>
                      <a:cubicBezTo>
                        <a:pt x="59809" y="4996"/>
                        <a:pt x="64805" y="8119"/>
                        <a:pt x="49192" y="0"/>
                      </a:cubicBezTo>
                      <a:cubicBezTo>
                        <a:pt x="-13884" y="244187"/>
                        <a:pt x="-3267" y="567688"/>
                        <a:pt x="10472" y="902430"/>
                      </a:cubicBezTo>
                      <a:lnTo>
                        <a:pt x="22338" y="902430"/>
                      </a:lnTo>
                      <a:close/>
                    </a:path>
                  </a:pathLst>
                </a:custGeom>
                <a:solidFill>
                  <a:srgbClr val="0C2C65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7" name="Vrije vorm: vorm 26">
                  <a:extLst>
                    <a:ext uri="{FF2B5EF4-FFF2-40B4-BE49-F238E27FC236}">
                      <a16:creationId xmlns:a16="http://schemas.microsoft.com/office/drawing/2014/main" id="{79EF82E7-FCC3-4284-8F09-08021F23EE03}"/>
                    </a:ext>
                  </a:extLst>
                </p:cNvPr>
                <p:cNvSpPr/>
                <p:nvPr/>
              </p:nvSpPr>
              <p:spPr>
                <a:xfrm>
                  <a:off x="4743269" y="1834602"/>
                  <a:ext cx="128673" cy="1442639"/>
                </a:xfrm>
                <a:custGeom>
                  <a:avLst/>
                  <a:gdLst>
                    <a:gd name="connsiteX0" fmla="*/ 81834 w 128673"/>
                    <a:gd name="connsiteY0" fmla="*/ 953016 h 1442639"/>
                    <a:gd name="connsiteX1" fmla="*/ 89953 w 128673"/>
                    <a:gd name="connsiteY1" fmla="*/ 953016 h 1442639"/>
                    <a:gd name="connsiteX2" fmla="*/ 128673 w 128673"/>
                    <a:gd name="connsiteY2" fmla="*/ 50586 h 1442639"/>
                    <a:gd name="connsiteX3" fmla="*/ 20631 w 128673"/>
                    <a:gd name="connsiteY3" fmla="*/ 0 h 1442639"/>
                    <a:gd name="connsiteX4" fmla="*/ 82459 w 128673"/>
                    <a:gd name="connsiteY4" fmla="*/ 1442639 h 1442639"/>
                    <a:gd name="connsiteX5" fmla="*/ 82459 w 128673"/>
                    <a:gd name="connsiteY5" fmla="*/ 953016 h 1442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8673" h="1442639">
                      <a:moveTo>
                        <a:pt x="81834" y="953016"/>
                      </a:moveTo>
                      <a:lnTo>
                        <a:pt x="89953" y="953016"/>
                      </a:lnTo>
                      <a:cubicBezTo>
                        <a:pt x="76838" y="618274"/>
                        <a:pt x="65597" y="294773"/>
                        <a:pt x="128673" y="50586"/>
                      </a:cubicBezTo>
                      <a:cubicBezTo>
                        <a:pt x="97447" y="34349"/>
                        <a:pt x="54355" y="14364"/>
                        <a:pt x="20631" y="0"/>
                      </a:cubicBezTo>
                      <a:cubicBezTo>
                        <a:pt x="-42445" y="369091"/>
                        <a:pt x="56853" y="930534"/>
                        <a:pt x="82459" y="1442639"/>
                      </a:cubicBezTo>
                      <a:lnTo>
                        <a:pt x="82459" y="953016"/>
                      </a:lnTo>
                      <a:close/>
                    </a:path>
                  </a:pathLst>
                </a:custGeom>
                <a:solidFill>
                  <a:srgbClr val="4DB374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8" name="Vrije vorm: vorm 27">
                  <a:extLst>
                    <a:ext uri="{FF2B5EF4-FFF2-40B4-BE49-F238E27FC236}">
                      <a16:creationId xmlns:a16="http://schemas.microsoft.com/office/drawing/2014/main" id="{D196E388-7CB0-4204-B486-11E55940DED3}"/>
                    </a:ext>
                  </a:extLst>
                </p:cNvPr>
                <p:cNvSpPr/>
                <p:nvPr/>
              </p:nvSpPr>
              <p:spPr>
                <a:xfrm>
                  <a:off x="4552813" y="1764656"/>
                  <a:ext cx="274163" cy="1876679"/>
                </a:xfrm>
                <a:custGeom>
                  <a:avLst/>
                  <a:gdLst>
                    <a:gd name="connsiteX0" fmla="*/ 272290 w 274163"/>
                    <a:gd name="connsiteY0" fmla="*/ 1676209 h 1876679"/>
                    <a:gd name="connsiteX1" fmla="*/ 272290 w 274163"/>
                    <a:gd name="connsiteY1" fmla="*/ 1513210 h 1876679"/>
                    <a:gd name="connsiteX2" fmla="*/ 210463 w 274163"/>
                    <a:gd name="connsiteY2" fmla="*/ 70571 h 1876679"/>
                    <a:gd name="connsiteX3" fmla="*/ 0 w 274163"/>
                    <a:gd name="connsiteY3" fmla="*/ 0 h 1876679"/>
                    <a:gd name="connsiteX4" fmla="*/ 274164 w 274163"/>
                    <a:gd name="connsiteY4" fmla="*/ 1876680 h 1876679"/>
                    <a:gd name="connsiteX5" fmla="*/ 272290 w 274163"/>
                    <a:gd name="connsiteY5" fmla="*/ 1676209 h 1876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4163" h="1876679">
                      <a:moveTo>
                        <a:pt x="272290" y="1676209"/>
                      </a:moveTo>
                      <a:lnTo>
                        <a:pt x="272290" y="1513210"/>
                      </a:lnTo>
                      <a:cubicBezTo>
                        <a:pt x="246685" y="1001104"/>
                        <a:pt x="147387" y="439661"/>
                        <a:pt x="210463" y="70571"/>
                      </a:cubicBezTo>
                      <a:cubicBezTo>
                        <a:pt x="142390" y="42467"/>
                        <a:pt x="76816" y="20609"/>
                        <a:pt x="0" y="0"/>
                      </a:cubicBezTo>
                      <a:cubicBezTo>
                        <a:pt x="1873" y="460895"/>
                        <a:pt x="239191" y="1249663"/>
                        <a:pt x="274164" y="1876680"/>
                      </a:cubicBezTo>
                      <a:cubicBezTo>
                        <a:pt x="270417" y="1818600"/>
                        <a:pt x="272290" y="1729918"/>
                        <a:pt x="272290" y="1676209"/>
                      </a:cubicBezTo>
                      <a:close/>
                    </a:path>
                  </a:pathLst>
                </a:custGeom>
                <a:solidFill>
                  <a:srgbClr val="1961AC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29" name="Vrije vorm: vorm 28">
                  <a:extLst>
                    <a:ext uri="{FF2B5EF4-FFF2-40B4-BE49-F238E27FC236}">
                      <a16:creationId xmlns:a16="http://schemas.microsoft.com/office/drawing/2014/main" id="{E0701708-9B19-4D69-AEF1-7F56222F74BA}"/>
                    </a:ext>
                  </a:extLst>
                </p:cNvPr>
                <p:cNvSpPr/>
                <p:nvPr/>
              </p:nvSpPr>
              <p:spPr>
                <a:xfrm>
                  <a:off x="3507368" y="1660338"/>
                  <a:ext cx="1320233" cy="1980998"/>
                </a:xfrm>
                <a:custGeom>
                  <a:avLst/>
                  <a:gdLst>
                    <a:gd name="connsiteX0" fmla="*/ 1320234 w 1320233"/>
                    <a:gd name="connsiteY0" fmla="*/ 1980998 h 1980998"/>
                    <a:gd name="connsiteX1" fmla="*/ 450278 w 1320233"/>
                    <a:gd name="connsiteY1" fmla="*/ 11890 h 1980998"/>
                    <a:gd name="connsiteX2" fmla="*/ 0 w 1320233"/>
                    <a:gd name="connsiteY2" fmla="*/ 1897 h 1980998"/>
                    <a:gd name="connsiteX3" fmla="*/ 1265276 w 1320233"/>
                    <a:gd name="connsiteY3" fmla="*/ 1872956 h 1980998"/>
                    <a:gd name="connsiteX4" fmla="*/ 1320234 w 1320233"/>
                    <a:gd name="connsiteY4" fmla="*/ 1980998 h 1980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20233" h="1980998">
                      <a:moveTo>
                        <a:pt x="1320234" y="1980998"/>
                      </a:moveTo>
                      <a:cubicBezTo>
                        <a:pt x="1111019" y="1301522"/>
                        <a:pt x="691967" y="477781"/>
                        <a:pt x="450278" y="11890"/>
                      </a:cubicBezTo>
                      <a:cubicBezTo>
                        <a:pt x="293524" y="648"/>
                        <a:pt x="156754" y="-2474"/>
                        <a:pt x="0" y="1897"/>
                      </a:cubicBezTo>
                      <a:cubicBezTo>
                        <a:pt x="395945" y="460294"/>
                        <a:pt x="924288" y="1214714"/>
                        <a:pt x="1265276" y="1872956"/>
                      </a:cubicBezTo>
                      <a:cubicBezTo>
                        <a:pt x="1286510" y="1911677"/>
                        <a:pt x="1305870" y="1949772"/>
                        <a:pt x="1320234" y="1980998"/>
                      </a:cubicBezTo>
                      <a:close/>
                    </a:path>
                  </a:pathLst>
                </a:custGeom>
                <a:solidFill>
                  <a:srgbClr val="E67D35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grpSp>
              <p:nvGrpSpPr>
                <p:cNvPr id="30" name="Graphic 2">
                  <a:extLst>
                    <a:ext uri="{FF2B5EF4-FFF2-40B4-BE49-F238E27FC236}">
                      <a16:creationId xmlns:a16="http://schemas.microsoft.com/office/drawing/2014/main" id="{B835F839-9AD1-4FAE-A8B3-4A841279A05A}"/>
                    </a:ext>
                  </a:extLst>
                </p:cNvPr>
                <p:cNvGrpSpPr/>
                <p:nvPr/>
              </p:nvGrpSpPr>
              <p:grpSpPr>
                <a:xfrm>
                  <a:off x="3322510" y="1661611"/>
                  <a:ext cx="1449509" cy="1871059"/>
                  <a:chOff x="3322510" y="1661611"/>
                  <a:chExt cx="1449509" cy="1871059"/>
                </a:xfrm>
              </p:grpSpPr>
              <p:sp>
                <p:nvSpPr>
                  <p:cNvPr id="31" name="Vrije vorm: vorm 30">
                    <a:extLst>
                      <a:ext uri="{FF2B5EF4-FFF2-40B4-BE49-F238E27FC236}">
                        <a16:creationId xmlns:a16="http://schemas.microsoft.com/office/drawing/2014/main" id="{A6DEF823-ABD6-44C1-B008-3C0A17E7145E}"/>
                      </a:ext>
                    </a:extLst>
                  </p:cNvPr>
                  <p:cNvSpPr/>
                  <p:nvPr/>
                </p:nvSpPr>
                <p:spPr>
                  <a:xfrm>
                    <a:off x="3432425" y="1661611"/>
                    <a:ext cx="1339593" cy="1871059"/>
                  </a:xfrm>
                  <a:custGeom>
                    <a:avLst/>
                    <a:gdLst>
                      <a:gd name="connsiteX0" fmla="*/ 74318 w 1339593"/>
                      <a:gd name="connsiteY0" fmla="*/ 0 h 1871059"/>
                      <a:gd name="connsiteX1" fmla="*/ 0 w 1339593"/>
                      <a:gd name="connsiteY1" fmla="*/ 2498 h 1871059"/>
                      <a:gd name="connsiteX2" fmla="*/ 873702 w 1339593"/>
                      <a:gd name="connsiteY2" fmla="*/ 1125383 h 1871059"/>
                      <a:gd name="connsiteX3" fmla="*/ 879947 w 1339593"/>
                      <a:gd name="connsiteY3" fmla="*/ 1125383 h 1871059"/>
                      <a:gd name="connsiteX4" fmla="*/ 966131 w 1339593"/>
                      <a:gd name="connsiteY4" fmla="*/ 1263402 h 1871059"/>
                      <a:gd name="connsiteX5" fmla="*/ 966131 w 1339593"/>
                      <a:gd name="connsiteY5" fmla="*/ 1263402 h 1871059"/>
                      <a:gd name="connsiteX6" fmla="*/ 1245291 w 1339593"/>
                      <a:gd name="connsiteY6" fmla="*/ 1711182 h 1871059"/>
                      <a:gd name="connsiteX7" fmla="*/ 1245916 w 1339593"/>
                      <a:gd name="connsiteY7" fmla="*/ 1712431 h 1871059"/>
                      <a:gd name="connsiteX8" fmla="*/ 1280889 w 1339593"/>
                      <a:gd name="connsiteY8" fmla="*/ 1768638 h 1871059"/>
                      <a:gd name="connsiteX9" fmla="*/ 1339594 w 1339593"/>
                      <a:gd name="connsiteY9" fmla="*/ 1871059 h 1871059"/>
                      <a:gd name="connsiteX10" fmla="*/ 74318 w 1339593"/>
                      <a:gd name="connsiteY10" fmla="*/ 0 h 18710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339593" h="1871059">
                        <a:moveTo>
                          <a:pt x="74318" y="0"/>
                        </a:moveTo>
                        <a:cubicBezTo>
                          <a:pt x="51835" y="625"/>
                          <a:pt x="22483" y="1874"/>
                          <a:pt x="0" y="2498"/>
                        </a:cubicBezTo>
                        <a:cubicBezTo>
                          <a:pt x="266045" y="294148"/>
                          <a:pt x="583926" y="700710"/>
                          <a:pt x="873702" y="1125383"/>
                        </a:cubicBezTo>
                        <a:lnTo>
                          <a:pt x="879947" y="1125383"/>
                        </a:lnTo>
                        <a:lnTo>
                          <a:pt x="966131" y="1263402"/>
                        </a:lnTo>
                        <a:lnTo>
                          <a:pt x="966131" y="1263402"/>
                        </a:lnTo>
                        <a:lnTo>
                          <a:pt x="1245291" y="1711182"/>
                        </a:lnTo>
                        <a:cubicBezTo>
                          <a:pt x="1245291" y="1711807"/>
                          <a:pt x="1245916" y="1711807"/>
                          <a:pt x="1245916" y="1712431"/>
                        </a:cubicBezTo>
                        <a:lnTo>
                          <a:pt x="1280889" y="1768638"/>
                        </a:lnTo>
                        <a:cubicBezTo>
                          <a:pt x="1300249" y="1800488"/>
                          <a:pt x="1320858" y="1836086"/>
                          <a:pt x="1339594" y="1871059"/>
                        </a:cubicBezTo>
                        <a:cubicBezTo>
                          <a:pt x="998606" y="1212816"/>
                          <a:pt x="470263" y="458397"/>
                          <a:pt x="74318" y="0"/>
                        </a:cubicBezTo>
                        <a:close/>
                      </a:path>
                    </a:pathLst>
                  </a:custGeom>
                  <a:solidFill>
                    <a:srgbClr val="682383"/>
                  </a:solidFill>
                  <a:ln w="6241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nl-NL"/>
                  </a:p>
                </p:txBody>
              </p:sp>
              <p:sp>
                <p:nvSpPr>
                  <p:cNvPr id="32" name="Vrije vorm: vorm 31">
                    <a:extLst>
                      <a:ext uri="{FF2B5EF4-FFF2-40B4-BE49-F238E27FC236}">
                        <a16:creationId xmlns:a16="http://schemas.microsoft.com/office/drawing/2014/main" id="{FD56422A-6777-4F2C-9040-0AC337731FE8}"/>
                      </a:ext>
                    </a:extLst>
                  </p:cNvPr>
                  <p:cNvSpPr/>
                  <p:nvPr/>
                </p:nvSpPr>
                <p:spPr>
                  <a:xfrm>
                    <a:off x="3322510" y="1664733"/>
                    <a:ext cx="983617" cy="1122885"/>
                  </a:xfrm>
                  <a:custGeom>
                    <a:avLst/>
                    <a:gdLst>
                      <a:gd name="connsiteX0" fmla="*/ 983618 w 983617"/>
                      <a:gd name="connsiteY0" fmla="*/ 1122885 h 1122885"/>
                      <a:gd name="connsiteX1" fmla="*/ 109915 w 983617"/>
                      <a:gd name="connsiteY1" fmla="*/ 0 h 1122885"/>
                      <a:gd name="connsiteX2" fmla="*/ 0 w 983617"/>
                      <a:gd name="connsiteY2" fmla="*/ 6245 h 1122885"/>
                      <a:gd name="connsiteX3" fmla="*/ 937403 w 983617"/>
                      <a:gd name="connsiteY3" fmla="*/ 1122885 h 1122885"/>
                      <a:gd name="connsiteX4" fmla="*/ 983618 w 983617"/>
                      <a:gd name="connsiteY4" fmla="*/ 1122885 h 11228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83617" h="1122885">
                        <a:moveTo>
                          <a:pt x="983618" y="1122885"/>
                        </a:moveTo>
                        <a:cubicBezTo>
                          <a:pt x="693841" y="698212"/>
                          <a:pt x="376585" y="291650"/>
                          <a:pt x="109915" y="0"/>
                        </a:cubicBezTo>
                        <a:cubicBezTo>
                          <a:pt x="65574" y="1874"/>
                          <a:pt x="43716" y="3123"/>
                          <a:pt x="0" y="6245"/>
                        </a:cubicBezTo>
                        <a:cubicBezTo>
                          <a:pt x="288528" y="300394"/>
                          <a:pt x="627642" y="703209"/>
                          <a:pt x="937403" y="1122885"/>
                        </a:cubicBezTo>
                        <a:lnTo>
                          <a:pt x="983618" y="1122885"/>
                        </a:lnTo>
                        <a:close/>
                      </a:path>
                    </a:pathLst>
                  </a:custGeom>
                  <a:solidFill>
                    <a:srgbClr val="2BA9D0"/>
                  </a:solidFill>
                  <a:ln w="6241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nl-NL"/>
                  </a:p>
                </p:txBody>
              </p:sp>
            </p:grpSp>
            <p:sp>
              <p:nvSpPr>
                <p:cNvPr id="33" name="Vrije vorm: vorm 32">
                  <a:extLst>
                    <a:ext uri="{FF2B5EF4-FFF2-40B4-BE49-F238E27FC236}">
                      <a16:creationId xmlns:a16="http://schemas.microsoft.com/office/drawing/2014/main" id="{9A753DC4-4839-4F5B-AAED-892582901FE0}"/>
                    </a:ext>
                  </a:extLst>
                </p:cNvPr>
                <p:cNvSpPr/>
                <p:nvPr/>
              </p:nvSpPr>
              <p:spPr>
                <a:xfrm>
                  <a:off x="3077074" y="1670978"/>
                  <a:ext cx="1183463" cy="1117264"/>
                </a:xfrm>
                <a:custGeom>
                  <a:avLst/>
                  <a:gdLst>
                    <a:gd name="connsiteX0" fmla="*/ 1183464 w 1183463"/>
                    <a:gd name="connsiteY0" fmla="*/ 1116640 h 1117264"/>
                    <a:gd name="connsiteX1" fmla="*/ 246060 w 1183463"/>
                    <a:gd name="connsiteY1" fmla="*/ 0 h 1117264"/>
                    <a:gd name="connsiteX2" fmla="*/ 0 w 1183463"/>
                    <a:gd name="connsiteY2" fmla="*/ 27479 h 1117264"/>
                    <a:gd name="connsiteX3" fmla="*/ 1067928 w 1183463"/>
                    <a:gd name="connsiteY3" fmla="*/ 1117265 h 1117264"/>
                    <a:gd name="connsiteX4" fmla="*/ 1183464 w 1183463"/>
                    <a:gd name="connsiteY4" fmla="*/ 1117265 h 1117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83463" h="1117264">
                      <a:moveTo>
                        <a:pt x="1183464" y="1116640"/>
                      </a:moveTo>
                      <a:cubicBezTo>
                        <a:pt x="873702" y="696339"/>
                        <a:pt x="534588" y="294148"/>
                        <a:pt x="246060" y="0"/>
                      </a:cubicBezTo>
                      <a:cubicBezTo>
                        <a:pt x="159252" y="6245"/>
                        <a:pt x="81812" y="14364"/>
                        <a:pt x="0" y="27479"/>
                      </a:cubicBezTo>
                      <a:cubicBezTo>
                        <a:pt x="331620" y="325999"/>
                        <a:pt x="714450" y="714450"/>
                        <a:pt x="1067928" y="1117265"/>
                      </a:cubicBezTo>
                      <a:lnTo>
                        <a:pt x="1183464" y="1117265"/>
                      </a:lnTo>
                      <a:close/>
                    </a:path>
                  </a:pathLst>
                </a:custGeom>
                <a:solidFill>
                  <a:srgbClr val="07903A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4" name="Vrije vorm: vorm 33">
                  <a:extLst>
                    <a:ext uri="{FF2B5EF4-FFF2-40B4-BE49-F238E27FC236}">
                      <a16:creationId xmlns:a16="http://schemas.microsoft.com/office/drawing/2014/main" id="{F6B756B7-C86F-4B20-80A4-A1950DC87AC5}"/>
                    </a:ext>
                  </a:extLst>
                </p:cNvPr>
                <p:cNvSpPr/>
                <p:nvPr/>
              </p:nvSpPr>
              <p:spPr>
                <a:xfrm>
                  <a:off x="2702987" y="1697833"/>
                  <a:ext cx="1442014" cy="1142245"/>
                </a:xfrm>
                <a:custGeom>
                  <a:avLst/>
                  <a:gdLst>
                    <a:gd name="connsiteX0" fmla="*/ 1268398 w 1442014"/>
                    <a:gd name="connsiteY0" fmla="*/ 1089786 h 1142245"/>
                    <a:gd name="connsiteX1" fmla="*/ 1442015 w 1442014"/>
                    <a:gd name="connsiteY1" fmla="*/ 1089786 h 1142245"/>
                    <a:gd name="connsiteX2" fmla="*/ 374087 w 1442014"/>
                    <a:gd name="connsiteY2" fmla="*/ 0 h 1142245"/>
                    <a:gd name="connsiteX3" fmla="*/ 0 w 1442014"/>
                    <a:gd name="connsiteY3" fmla="*/ 93678 h 1142245"/>
                    <a:gd name="connsiteX4" fmla="*/ 1268398 w 1442014"/>
                    <a:gd name="connsiteY4" fmla="*/ 1142245 h 1142245"/>
                    <a:gd name="connsiteX5" fmla="*/ 1268398 w 1442014"/>
                    <a:gd name="connsiteY5" fmla="*/ 1089786 h 11422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442014" h="1142245">
                      <a:moveTo>
                        <a:pt x="1268398" y="1089786"/>
                      </a:moveTo>
                      <a:lnTo>
                        <a:pt x="1442015" y="1089786"/>
                      </a:lnTo>
                      <a:cubicBezTo>
                        <a:pt x="1088537" y="687596"/>
                        <a:pt x="705707" y="298520"/>
                        <a:pt x="374087" y="0"/>
                      </a:cubicBezTo>
                      <a:cubicBezTo>
                        <a:pt x="231697" y="21858"/>
                        <a:pt x="118659" y="48713"/>
                        <a:pt x="0" y="93678"/>
                      </a:cubicBezTo>
                      <a:cubicBezTo>
                        <a:pt x="387827" y="401566"/>
                        <a:pt x="841852" y="770032"/>
                        <a:pt x="1268398" y="1142245"/>
                      </a:cubicBezTo>
                      <a:lnTo>
                        <a:pt x="1268398" y="108978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5" name="Vrije vorm: vorm 34">
                  <a:extLst>
                    <a:ext uri="{FF2B5EF4-FFF2-40B4-BE49-F238E27FC236}">
                      <a16:creationId xmlns:a16="http://schemas.microsoft.com/office/drawing/2014/main" id="{4038CE79-10A6-4A74-983E-0C4ECD349275}"/>
                    </a:ext>
                  </a:extLst>
                </p:cNvPr>
                <p:cNvSpPr/>
                <p:nvPr/>
              </p:nvSpPr>
              <p:spPr>
                <a:xfrm>
                  <a:off x="2471915" y="1791511"/>
                  <a:ext cx="1499470" cy="1197203"/>
                </a:xfrm>
                <a:custGeom>
                  <a:avLst/>
                  <a:gdLst>
                    <a:gd name="connsiteX0" fmla="*/ 1499470 w 1499470"/>
                    <a:gd name="connsiteY0" fmla="*/ 1048567 h 1197203"/>
                    <a:gd name="connsiteX1" fmla="*/ 231072 w 1499470"/>
                    <a:gd name="connsiteY1" fmla="*/ 0 h 1197203"/>
                    <a:gd name="connsiteX2" fmla="*/ 0 w 1499470"/>
                    <a:gd name="connsiteY2" fmla="*/ 117410 h 1197203"/>
                    <a:gd name="connsiteX3" fmla="*/ 1499470 w 1499470"/>
                    <a:gd name="connsiteY3" fmla="*/ 1197203 h 1197203"/>
                    <a:gd name="connsiteX4" fmla="*/ 1499470 w 1499470"/>
                    <a:gd name="connsiteY4" fmla="*/ 1048567 h 1197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99470" h="1197203">
                      <a:moveTo>
                        <a:pt x="1499470" y="1048567"/>
                      </a:moveTo>
                      <a:cubicBezTo>
                        <a:pt x="1072924" y="676354"/>
                        <a:pt x="618274" y="307888"/>
                        <a:pt x="231072" y="0"/>
                      </a:cubicBezTo>
                      <a:cubicBezTo>
                        <a:pt x="146138" y="31850"/>
                        <a:pt x="69322" y="70571"/>
                        <a:pt x="0" y="117410"/>
                      </a:cubicBezTo>
                      <a:cubicBezTo>
                        <a:pt x="443409" y="447780"/>
                        <a:pt x="990487" y="827488"/>
                        <a:pt x="1499470" y="1197203"/>
                      </a:cubicBezTo>
                      <a:lnTo>
                        <a:pt x="1499470" y="1048567"/>
                      </a:lnTo>
                      <a:close/>
                    </a:path>
                  </a:pathLst>
                </a:custGeom>
                <a:solidFill>
                  <a:srgbClr val="E9511F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6" name="Vrije vorm: vorm 35">
                  <a:extLst>
                    <a:ext uri="{FF2B5EF4-FFF2-40B4-BE49-F238E27FC236}">
                      <a16:creationId xmlns:a16="http://schemas.microsoft.com/office/drawing/2014/main" id="{60E2012E-5EE9-431F-9D81-1107696AF7A4}"/>
                    </a:ext>
                  </a:extLst>
                </p:cNvPr>
                <p:cNvSpPr/>
                <p:nvPr/>
              </p:nvSpPr>
              <p:spPr>
                <a:xfrm>
                  <a:off x="2449432" y="1909545"/>
                  <a:ext cx="1522577" cy="1094781"/>
                </a:xfrm>
                <a:custGeom>
                  <a:avLst/>
                  <a:gdLst>
                    <a:gd name="connsiteX0" fmla="*/ 1521953 w 1522577"/>
                    <a:gd name="connsiteY0" fmla="*/ 1079793 h 1094781"/>
                    <a:gd name="connsiteX1" fmla="*/ 22483 w 1522577"/>
                    <a:gd name="connsiteY1" fmla="*/ 0 h 1094781"/>
                    <a:gd name="connsiteX2" fmla="*/ 0 w 1522577"/>
                    <a:gd name="connsiteY2" fmla="*/ 15613 h 1094781"/>
                    <a:gd name="connsiteX3" fmla="*/ 1522578 w 1522577"/>
                    <a:gd name="connsiteY3" fmla="*/ 1094782 h 1094781"/>
                    <a:gd name="connsiteX4" fmla="*/ 1522578 w 1522577"/>
                    <a:gd name="connsiteY4" fmla="*/ 1079793 h 1094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522577" h="1094781">
                      <a:moveTo>
                        <a:pt x="1521953" y="1079793"/>
                      </a:moveTo>
                      <a:cubicBezTo>
                        <a:pt x="1012970" y="710078"/>
                        <a:pt x="465891" y="330371"/>
                        <a:pt x="22483" y="0"/>
                      </a:cubicBezTo>
                      <a:cubicBezTo>
                        <a:pt x="8743" y="9368"/>
                        <a:pt x="13115" y="6245"/>
                        <a:pt x="0" y="15613"/>
                      </a:cubicBezTo>
                      <a:cubicBezTo>
                        <a:pt x="447780" y="347233"/>
                        <a:pt x="1004851" y="726316"/>
                        <a:pt x="1522578" y="1094782"/>
                      </a:cubicBezTo>
                      <a:lnTo>
                        <a:pt x="1522578" y="1079793"/>
                      </a:lnTo>
                      <a:close/>
                    </a:path>
                  </a:pathLst>
                </a:custGeom>
                <a:solidFill>
                  <a:srgbClr val="0C2C65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37" name="Vrije vorm: vorm 36">
                  <a:extLst>
                    <a:ext uri="{FF2B5EF4-FFF2-40B4-BE49-F238E27FC236}">
                      <a16:creationId xmlns:a16="http://schemas.microsoft.com/office/drawing/2014/main" id="{196FD8F9-FF9A-446C-A716-22EB53669052}"/>
                    </a:ext>
                  </a:extLst>
                </p:cNvPr>
                <p:cNvSpPr/>
                <p:nvPr/>
              </p:nvSpPr>
              <p:spPr>
                <a:xfrm>
                  <a:off x="4839921" y="1898928"/>
                  <a:ext cx="106962" cy="888690"/>
                </a:xfrm>
                <a:custGeom>
                  <a:avLst/>
                  <a:gdLst>
                    <a:gd name="connsiteX0" fmla="*/ 28273 w 106962"/>
                    <a:gd name="connsiteY0" fmla="*/ 888691 h 888690"/>
                    <a:gd name="connsiteX1" fmla="*/ 106963 w 106962"/>
                    <a:gd name="connsiteY1" fmla="*/ 29352 h 888690"/>
                    <a:gd name="connsiteX2" fmla="*/ 57626 w 106962"/>
                    <a:gd name="connsiteY2" fmla="*/ 0 h 888690"/>
                    <a:gd name="connsiteX3" fmla="*/ 5167 w 106962"/>
                    <a:gd name="connsiteY3" fmla="*/ 888066 h 888690"/>
                    <a:gd name="connsiteX4" fmla="*/ 28273 w 106962"/>
                    <a:gd name="connsiteY4" fmla="*/ 888066 h 8886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6962" h="888690">
                      <a:moveTo>
                        <a:pt x="28273" y="888691"/>
                      </a:moveTo>
                      <a:cubicBezTo>
                        <a:pt x="28273" y="572059"/>
                        <a:pt x="32646" y="265421"/>
                        <a:pt x="106963" y="29352"/>
                      </a:cubicBezTo>
                      <a:cubicBezTo>
                        <a:pt x="92599" y="19985"/>
                        <a:pt x="72615" y="8743"/>
                        <a:pt x="57626" y="0"/>
                      </a:cubicBezTo>
                      <a:cubicBezTo>
                        <a:pt x="-9198" y="241689"/>
                        <a:pt x="-3577" y="559569"/>
                        <a:pt x="5167" y="888066"/>
                      </a:cubicBezTo>
                      <a:lnTo>
                        <a:pt x="28273" y="88806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grpSp>
              <p:nvGrpSpPr>
                <p:cNvPr id="38" name="Graphic 2">
                  <a:extLst>
                    <a:ext uri="{FF2B5EF4-FFF2-40B4-BE49-F238E27FC236}">
                      <a16:creationId xmlns:a16="http://schemas.microsoft.com/office/drawing/2014/main" id="{B835F839-9AD1-4FAE-A8B3-4A841279A05A}"/>
                    </a:ext>
                  </a:extLst>
                </p:cNvPr>
                <p:cNvGrpSpPr/>
                <p:nvPr/>
              </p:nvGrpSpPr>
              <p:grpSpPr>
                <a:xfrm>
                  <a:off x="2363249" y="1925158"/>
                  <a:ext cx="2131483" cy="1714929"/>
                  <a:chOff x="2363249" y="1925158"/>
                  <a:chExt cx="2131483" cy="1714929"/>
                </a:xfrm>
              </p:grpSpPr>
              <p:sp>
                <p:nvSpPr>
                  <p:cNvPr id="39" name="Vrije vorm: vorm 38">
                    <a:extLst>
                      <a:ext uri="{FF2B5EF4-FFF2-40B4-BE49-F238E27FC236}">
                        <a16:creationId xmlns:a16="http://schemas.microsoft.com/office/drawing/2014/main" id="{76BD3D30-9DB8-49EC-99F7-3F171909FAF9}"/>
                      </a:ext>
                    </a:extLst>
                  </p:cNvPr>
                  <p:cNvSpPr/>
                  <p:nvPr/>
                </p:nvSpPr>
                <p:spPr>
                  <a:xfrm>
                    <a:off x="4250546" y="3231651"/>
                    <a:ext cx="244186" cy="408435"/>
                  </a:xfrm>
                  <a:custGeom>
                    <a:avLst/>
                    <a:gdLst>
                      <a:gd name="connsiteX0" fmla="*/ 244187 w 244186"/>
                      <a:gd name="connsiteY0" fmla="*/ 408436 h 408435"/>
                      <a:gd name="connsiteX1" fmla="*/ 113662 w 244186"/>
                      <a:gd name="connsiteY1" fmla="*/ 198597 h 408435"/>
                      <a:gd name="connsiteX2" fmla="*/ 10617 w 244186"/>
                      <a:gd name="connsiteY2" fmla="*/ 21234 h 408435"/>
                      <a:gd name="connsiteX3" fmla="*/ 0 w 244186"/>
                      <a:gd name="connsiteY3" fmla="*/ 0 h 408435"/>
                      <a:gd name="connsiteX4" fmla="*/ 624 w 244186"/>
                      <a:gd name="connsiteY4" fmla="*/ 14364 h 408435"/>
                      <a:gd name="connsiteX5" fmla="*/ 6245 w 244186"/>
                      <a:gd name="connsiteY5" fmla="*/ 187980 h 408435"/>
                      <a:gd name="connsiteX6" fmla="*/ 6245 w 244186"/>
                      <a:gd name="connsiteY6" fmla="*/ 407811 h 408435"/>
                      <a:gd name="connsiteX7" fmla="*/ 244187 w 244186"/>
                      <a:gd name="connsiteY7" fmla="*/ 408436 h 4084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44186" h="408435">
                        <a:moveTo>
                          <a:pt x="244187" y="408436"/>
                        </a:moveTo>
                        <a:lnTo>
                          <a:pt x="113662" y="198597"/>
                        </a:lnTo>
                        <a:cubicBezTo>
                          <a:pt x="78689" y="143639"/>
                          <a:pt x="38096" y="76191"/>
                          <a:pt x="10617" y="21234"/>
                        </a:cubicBezTo>
                        <a:cubicBezTo>
                          <a:pt x="6870" y="14364"/>
                          <a:pt x="3123" y="6870"/>
                          <a:pt x="0" y="0"/>
                        </a:cubicBezTo>
                        <a:cubicBezTo>
                          <a:pt x="0" y="4372"/>
                          <a:pt x="0" y="9368"/>
                          <a:pt x="624" y="14364"/>
                        </a:cubicBezTo>
                        <a:cubicBezTo>
                          <a:pt x="2498" y="69322"/>
                          <a:pt x="6245" y="133023"/>
                          <a:pt x="6245" y="187980"/>
                        </a:cubicBezTo>
                        <a:lnTo>
                          <a:pt x="6245" y="407811"/>
                        </a:lnTo>
                        <a:cubicBezTo>
                          <a:pt x="88682" y="408436"/>
                          <a:pt x="167996" y="408436"/>
                          <a:pt x="244187" y="408436"/>
                        </a:cubicBezTo>
                        <a:close/>
                      </a:path>
                    </a:pathLst>
                  </a:custGeom>
                  <a:solidFill>
                    <a:srgbClr val="1961AC"/>
                  </a:solidFill>
                  <a:ln w="6241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nl-NL"/>
                  </a:p>
                </p:txBody>
              </p:sp>
              <p:sp>
                <p:nvSpPr>
                  <p:cNvPr id="40" name="Vrije vorm: vorm 39">
                    <a:extLst>
                      <a:ext uri="{FF2B5EF4-FFF2-40B4-BE49-F238E27FC236}">
                        <a16:creationId xmlns:a16="http://schemas.microsoft.com/office/drawing/2014/main" id="{728D3867-2583-4CF8-BBA6-BDF6BFF0D255}"/>
                      </a:ext>
                    </a:extLst>
                  </p:cNvPr>
                  <p:cNvSpPr/>
                  <p:nvPr/>
                </p:nvSpPr>
                <p:spPr>
                  <a:xfrm>
                    <a:off x="2363249" y="1925158"/>
                    <a:ext cx="1608136" cy="1137249"/>
                  </a:xfrm>
                  <a:custGeom>
                    <a:avLst/>
                    <a:gdLst>
                      <a:gd name="connsiteX0" fmla="*/ 1608137 w 1608136"/>
                      <a:gd name="connsiteY0" fmla="*/ 1079169 h 1137249"/>
                      <a:gd name="connsiteX1" fmla="*/ 85559 w 1608136"/>
                      <a:gd name="connsiteY1" fmla="*/ 0 h 1137249"/>
                      <a:gd name="connsiteX2" fmla="*/ 0 w 1608136"/>
                      <a:gd name="connsiteY2" fmla="*/ 69322 h 1137249"/>
                      <a:gd name="connsiteX3" fmla="*/ 1607512 w 1608136"/>
                      <a:gd name="connsiteY3" fmla="*/ 1137249 h 1137249"/>
                      <a:gd name="connsiteX4" fmla="*/ 1607512 w 1608136"/>
                      <a:gd name="connsiteY4" fmla="*/ 1079169 h 1137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08136" h="1137249">
                        <a:moveTo>
                          <a:pt x="1608137" y="1079169"/>
                        </a:moveTo>
                        <a:cubicBezTo>
                          <a:pt x="1090410" y="710703"/>
                          <a:pt x="533964" y="331620"/>
                          <a:pt x="85559" y="0"/>
                        </a:cubicBezTo>
                        <a:cubicBezTo>
                          <a:pt x="58705" y="19360"/>
                          <a:pt x="24356" y="47463"/>
                          <a:pt x="0" y="69322"/>
                        </a:cubicBezTo>
                        <a:cubicBezTo>
                          <a:pt x="464018" y="403439"/>
                          <a:pt x="1056687" y="778151"/>
                          <a:pt x="1607512" y="1137249"/>
                        </a:cubicBezTo>
                        <a:lnTo>
                          <a:pt x="1607512" y="1079169"/>
                        </a:lnTo>
                        <a:close/>
                      </a:path>
                    </a:pathLst>
                  </a:custGeom>
                  <a:solidFill>
                    <a:srgbClr val="4DB374"/>
                  </a:solidFill>
                  <a:ln w="62418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nl-NL"/>
                  </a:p>
                </p:txBody>
              </p:sp>
            </p:grpSp>
            <p:sp>
              <p:nvSpPr>
                <p:cNvPr id="41" name="Vrije vorm: vorm 40">
                  <a:extLst>
                    <a:ext uri="{FF2B5EF4-FFF2-40B4-BE49-F238E27FC236}">
                      <a16:creationId xmlns:a16="http://schemas.microsoft.com/office/drawing/2014/main" id="{E06C896A-B61F-468B-B940-AD2EC7BC5755}"/>
                    </a:ext>
                  </a:extLst>
                </p:cNvPr>
                <p:cNvSpPr/>
                <p:nvPr/>
              </p:nvSpPr>
              <p:spPr>
                <a:xfrm>
                  <a:off x="2942178" y="3639462"/>
                  <a:ext cx="423423" cy="170498"/>
                </a:xfrm>
                <a:custGeom>
                  <a:avLst/>
                  <a:gdLst>
                    <a:gd name="connsiteX0" fmla="*/ 423424 w 423423"/>
                    <a:gd name="connsiteY0" fmla="*/ 0 h 170498"/>
                    <a:gd name="connsiteX1" fmla="*/ 0 w 423423"/>
                    <a:gd name="connsiteY1" fmla="*/ 0 h 170498"/>
                    <a:gd name="connsiteX2" fmla="*/ 0 w 423423"/>
                    <a:gd name="connsiteY2" fmla="*/ 170494 h 170498"/>
                    <a:gd name="connsiteX3" fmla="*/ 109291 w 423423"/>
                    <a:gd name="connsiteY3" fmla="*/ 170494 h 170498"/>
                    <a:gd name="connsiteX4" fmla="*/ 423424 w 423423"/>
                    <a:gd name="connsiteY4" fmla="*/ 0 h 1704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3423" h="170498">
                      <a:moveTo>
                        <a:pt x="423424" y="0"/>
                      </a:moveTo>
                      <a:cubicBezTo>
                        <a:pt x="278535" y="0"/>
                        <a:pt x="135521" y="0"/>
                        <a:pt x="0" y="0"/>
                      </a:cubicBezTo>
                      <a:lnTo>
                        <a:pt x="0" y="170494"/>
                      </a:lnTo>
                      <a:lnTo>
                        <a:pt x="109291" y="170494"/>
                      </a:lnTo>
                      <a:cubicBezTo>
                        <a:pt x="289152" y="171118"/>
                        <a:pt x="380332" y="104295"/>
                        <a:pt x="423424" y="0"/>
                      </a:cubicBezTo>
                      <a:close/>
                    </a:path>
                  </a:pathLst>
                </a:custGeom>
                <a:solidFill>
                  <a:srgbClr val="E9511F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  <p:sp>
              <p:nvSpPr>
                <p:cNvPr id="42" name="Vrije vorm: vorm 41">
                  <a:extLst>
                    <a:ext uri="{FF2B5EF4-FFF2-40B4-BE49-F238E27FC236}">
                      <a16:creationId xmlns:a16="http://schemas.microsoft.com/office/drawing/2014/main" id="{F4F2F1A9-CD02-4453-9971-F97E2C0677F1}"/>
                    </a:ext>
                  </a:extLst>
                </p:cNvPr>
                <p:cNvSpPr/>
                <p:nvPr/>
              </p:nvSpPr>
              <p:spPr>
                <a:xfrm>
                  <a:off x="2942178" y="3048043"/>
                  <a:ext cx="456523" cy="592044"/>
                </a:xfrm>
                <a:custGeom>
                  <a:avLst/>
                  <a:gdLst>
                    <a:gd name="connsiteX0" fmla="*/ 121781 w 456523"/>
                    <a:gd name="connsiteY0" fmla="*/ 0 h 592044"/>
                    <a:gd name="connsiteX1" fmla="*/ 0 w 456523"/>
                    <a:gd name="connsiteY1" fmla="*/ 0 h 592044"/>
                    <a:gd name="connsiteX2" fmla="*/ 0 w 456523"/>
                    <a:gd name="connsiteY2" fmla="*/ 592044 h 592044"/>
                    <a:gd name="connsiteX3" fmla="*/ 423424 w 456523"/>
                    <a:gd name="connsiteY3" fmla="*/ 592044 h 592044"/>
                    <a:gd name="connsiteX4" fmla="*/ 456524 w 456523"/>
                    <a:gd name="connsiteY4" fmla="*/ 382830 h 592044"/>
                    <a:gd name="connsiteX5" fmla="*/ 121781 w 456523"/>
                    <a:gd name="connsiteY5" fmla="*/ 0 h 5920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56523" h="592044">
                      <a:moveTo>
                        <a:pt x="121781" y="0"/>
                      </a:moveTo>
                      <a:lnTo>
                        <a:pt x="0" y="0"/>
                      </a:lnTo>
                      <a:lnTo>
                        <a:pt x="0" y="592044"/>
                      </a:lnTo>
                      <a:cubicBezTo>
                        <a:pt x="135521" y="592044"/>
                        <a:pt x="278535" y="592044"/>
                        <a:pt x="423424" y="592044"/>
                      </a:cubicBezTo>
                      <a:cubicBezTo>
                        <a:pt x="447780" y="533339"/>
                        <a:pt x="456524" y="460895"/>
                        <a:pt x="456524" y="382830"/>
                      </a:cubicBezTo>
                      <a:cubicBezTo>
                        <a:pt x="456524" y="162999"/>
                        <a:pt x="392823" y="0"/>
                        <a:pt x="121781" y="0"/>
                      </a:cubicBezTo>
                      <a:close/>
                    </a:path>
                  </a:pathLst>
                </a:custGeom>
                <a:solidFill>
                  <a:srgbClr val="1961AC"/>
                </a:solidFill>
                <a:ln w="6241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nl-NL"/>
                </a:p>
              </p:txBody>
            </p:sp>
          </p:grpSp>
          <p:sp>
            <p:nvSpPr>
              <p:cNvPr id="43" name="Vrije vorm: vorm 42">
                <a:extLst>
                  <a:ext uri="{FF2B5EF4-FFF2-40B4-BE49-F238E27FC236}">
                    <a16:creationId xmlns:a16="http://schemas.microsoft.com/office/drawing/2014/main" id="{7BA6DF1E-817D-4DAF-A55C-D6CC600CACB8}"/>
                  </a:ext>
                </a:extLst>
              </p:cNvPr>
              <p:cNvSpPr/>
              <p:nvPr/>
            </p:nvSpPr>
            <p:spPr>
              <a:xfrm>
                <a:off x="3971385" y="2787618"/>
                <a:ext cx="1139747" cy="1288382"/>
              </a:xfrm>
              <a:custGeom>
                <a:avLst/>
                <a:gdLst>
                  <a:gd name="connsiteX0" fmla="*/ 0 w 1139747"/>
                  <a:gd name="connsiteY0" fmla="*/ 201720 h 1288382"/>
                  <a:gd name="connsiteX1" fmla="*/ 0 w 1139747"/>
                  <a:gd name="connsiteY1" fmla="*/ 53084 h 1288382"/>
                  <a:gd name="connsiteX2" fmla="*/ 0 w 1139747"/>
                  <a:gd name="connsiteY2" fmla="*/ 0 h 1288382"/>
                  <a:gd name="connsiteX3" fmla="*/ 173616 w 1139747"/>
                  <a:gd name="connsiteY3" fmla="*/ 0 h 1288382"/>
                  <a:gd name="connsiteX4" fmla="*/ 289152 w 1139747"/>
                  <a:gd name="connsiteY4" fmla="*/ 0 h 1288382"/>
                  <a:gd name="connsiteX5" fmla="*/ 335367 w 1139747"/>
                  <a:gd name="connsiteY5" fmla="*/ 0 h 1288382"/>
                  <a:gd name="connsiteX6" fmla="*/ 341612 w 1139747"/>
                  <a:gd name="connsiteY6" fmla="*/ 0 h 1288382"/>
                  <a:gd name="connsiteX7" fmla="*/ 427171 w 1139747"/>
                  <a:gd name="connsiteY7" fmla="*/ 137394 h 1288382"/>
                  <a:gd name="connsiteX8" fmla="*/ 427171 w 1139747"/>
                  <a:gd name="connsiteY8" fmla="*/ 137394 h 1288382"/>
                  <a:gd name="connsiteX9" fmla="*/ 706956 w 1139747"/>
                  <a:gd name="connsiteY9" fmla="*/ 585174 h 1288382"/>
                  <a:gd name="connsiteX10" fmla="*/ 707580 w 1139747"/>
                  <a:gd name="connsiteY10" fmla="*/ 586423 h 1288382"/>
                  <a:gd name="connsiteX11" fmla="*/ 742553 w 1139747"/>
                  <a:gd name="connsiteY11" fmla="*/ 642630 h 1288382"/>
                  <a:gd name="connsiteX12" fmla="*/ 801258 w 1139747"/>
                  <a:gd name="connsiteY12" fmla="*/ 745051 h 1288382"/>
                  <a:gd name="connsiteX13" fmla="*/ 856216 w 1139747"/>
                  <a:gd name="connsiteY13" fmla="*/ 853718 h 1288382"/>
                  <a:gd name="connsiteX14" fmla="*/ 854342 w 1139747"/>
                  <a:gd name="connsiteY14" fmla="*/ 653247 h 1288382"/>
                  <a:gd name="connsiteX15" fmla="*/ 854342 w 1139747"/>
                  <a:gd name="connsiteY15" fmla="*/ 490248 h 1288382"/>
                  <a:gd name="connsiteX16" fmla="*/ 854342 w 1139747"/>
                  <a:gd name="connsiteY16" fmla="*/ 0 h 1288382"/>
                  <a:gd name="connsiteX17" fmla="*/ 862461 w 1139747"/>
                  <a:gd name="connsiteY17" fmla="*/ 0 h 1288382"/>
                  <a:gd name="connsiteX18" fmla="*/ 874327 w 1139747"/>
                  <a:gd name="connsiteY18" fmla="*/ 0 h 1288382"/>
                  <a:gd name="connsiteX19" fmla="*/ 897434 w 1139747"/>
                  <a:gd name="connsiteY19" fmla="*/ 0 h 1288382"/>
                  <a:gd name="connsiteX20" fmla="*/ 1004851 w 1139747"/>
                  <a:gd name="connsiteY20" fmla="*/ 0 h 1288382"/>
                  <a:gd name="connsiteX21" fmla="*/ 1139748 w 1139747"/>
                  <a:gd name="connsiteY21" fmla="*/ 0 h 1288382"/>
                  <a:gd name="connsiteX22" fmla="*/ 1139748 w 1139747"/>
                  <a:gd name="connsiteY22" fmla="*/ 399068 h 1288382"/>
                  <a:gd name="connsiteX23" fmla="*/ 1139748 w 1139747"/>
                  <a:gd name="connsiteY23" fmla="*/ 424673 h 1288382"/>
                  <a:gd name="connsiteX24" fmla="*/ 1139748 w 1139747"/>
                  <a:gd name="connsiteY24" fmla="*/ 605784 h 1288382"/>
                  <a:gd name="connsiteX25" fmla="*/ 1139748 w 1139747"/>
                  <a:gd name="connsiteY25" fmla="*/ 684473 h 1288382"/>
                  <a:gd name="connsiteX26" fmla="*/ 1139748 w 1139747"/>
                  <a:gd name="connsiteY26" fmla="*/ 1237172 h 1288382"/>
                  <a:gd name="connsiteX27" fmla="*/ 1139748 w 1139747"/>
                  <a:gd name="connsiteY27" fmla="*/ 1288383 h 1288382"/>
                  <a:gd name="connsiteX28" fmla="*/ 996733 w 1139747"/>
                  <a:gd name="connsiteY28" fmla="*/ 1288383 h 1288382"/>
                  <a:gd name="connsiteX29" fmla="*/ 821867 w 1139747"/>
                  <a:gd name="connsiteY29" fmla="*/ 1288383 h 1288382"/>
                  <a:gd name="connsiteX30" fmla="*/ 795013 w 1139747"/>
                  <a:gd name="connsiteY30" fmla="*/ 1288383 h 1288382"/>
                  <a:gd name="connsiteX31" fmla="*/ 676354 w 1139747"/>
                  <a:gd name="connsiteY31" fmla="*/ 1097280 h 1288382"/>
                  <a:gd name="connsiteX32" fmla="*/ 643255 w 1139747"/>
                  <a:gd name="connsiteY32" fmla="*/ 1044196 h 1288382"/>
                  <a:gd name="connsiteX33" fmla="*/ 524596 w 1139747"/>
                  <a:gd name="connsiteY33" fmla="*/ 853718 h 1288382"/>
                  <a:gd name="connsiteX34" fmla="*/ 394072 w 1139747"/>
                  <a:gd name="connsiteY34" fmla="*/ 643879 h 1288382"/>
                  <a:gd name="connsiteX35" fmla="*/ 291026 w 1139747"/>
                  <a:gd name="connsiteY35" fmla="*/ 466516 h 1288382"/>
                  <a:gd name="connsiteX36" fmla="*/ 280409 w 1139747"/>
                  <a:gd name="connsiteY36" fmla="*/ 445282 h 1288382"/>
                  <a:gd name="connsiteX37" fmla="*/ 281034 w 1139747"/>
                  <a:gd name="connsiteY37" fmla="*/ 459646 h 1288382"/>
                  <a:gd name="connsiteX38" fmla="*/ 286654 w 1139747"/>
                  <a:gd name="connsiteY38" fmla="*/ 633262 h 1288382"/>
                  <a:gd name="connsiteX39" fmla="*/ 286654 w 1139747"/>
                  <a:gd name="connsiteY39" fmla="*/ 853093 h 1288382"/>
                  <a:gd name="connsiteX40" fmla="*/ 286654 w 1139747"/>
                  <a:gd name="connsiteY40" fmla="*/ 1288383 h 1288382"/>
                  <a:gd name="connsiteX41" fmla="*/ 1249 w 1139747"/>
                  <a:gd name="connsiteY41" fmla="*/ 1288383 h 1288382"/>
                  <a:gd name="connsiteX42" fmla="*/ 1249 w 1139747"/>
                  <a:gd name="connsiteY42" fmla="*/ 853093 h 1288382"/>
                  <a:gd name="connsiteX43" fmla="*/ 1249 w 1139747"/>
                  <a:gd name="connsiteY43" fmla="*/ 276038 h 1288382"/>
                  <a:gd name="connsiteX44" fmla="*/ 1249 w 1139747"/>
                  <a:gd name="connsiteY44" fmla="*/ 216708 h 1288382"/>
                  <a:gd name="connsiteX45" fmla="*/ 1249 w 1139747"/>
                  <a:gd name="connsiteY45" fmla="*/ 201720 h 1288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1139747" h="1288382">
                    <a:moveTo>
                      <a:pt x="0" y="201720"/>
                    </a:moveTo>
                    <a:lnTo>
                      <a:pt x="0" y="53084"/>
                    </a:lnTo>
                    <a:lnTo>
                      <a:pt x="0" y="0"/>
                    </a:lnTo>
                    <a:lnTo>
                      <a:pt x="173616" y="0"/>
                    </a:lnTo>
                    <a:lnTo>
                      <a:pt x="289152" y="0"/>
                    </a:lnTo>
                    <a:lnTo>
                      <a:pt x="335367" y="0"/>
                    </a:lnTo>
                    <a:lnTo>
                      <a:pt x="341612" y="0"/>
                    </a:lnTo>
                    <a:lnTo>
                      <a:pt x="427171" y="137394"/>
                    </a:lnTo>
                    <a:lnTo>
                      <a:pt x="427171" y="137394"/>
                    </a:lnTo>
                    <a:lnTo>
                      <a:pt x="706956" y="585174"/>
                    </a:lnTo>
                    <a:cubicBezTo>
                      <a:pt x="706956" y="585799"/>
                      <a:pt x="707580" y="585799"/>
                      <a:pt x="707580" y="586423"/>
                    </a:cubicBezTo>
                    <a:lnTo>
                      <a:pt x="742553" y="642630"/>
                    </a:lnTo>
                    <a:cubicBezTo>
                      <a:pt x="761913" y="674481"/>
                      <a:pt x="782523" y="710078"/>
                      <a:pt x="801258" y="745051"/>
                    </a:cubicBezTo>
                    <a:cubicBezTo>
                      <a:pt x="822492" y="784396"/>
                      <a:pt x="842476" y="822492"/>
                      <a:pt x="856216" y="853718"/>
                    </a:cubicBezTo>
                    <a:cubicBezTo>
                      <a:pt x="851844" y="795637"/>
                      <a:pt x="854342" y="706956"/>
                      <a:pt x="854342" y="653247"/>
                    </a:cubicBezTo>
                    <a:lnTo>
                      <a:pt x="854342" y="490248"/>
                    </a:lnTo>
                    <a:lnTo>
                      <a:pt x="854342" y="0"/>
                    </a:lnTo>
                    <a:lnTo>
                      <a:pt x="862461" y="0"/>
                    </a:lnTo>
                    <a:lnTo>
                      <a:pt x="874327" y="0"/>
                    </a:lnTo>
                    <a:lnTo>
                      <a:pt x="897434" y="0"/>
                    </a:lnTo>
                    <a:lnTo>
                      <a:pt x="1004851" y="0"/>
                    </a:lnTo>
                    <a:lnTo>
                      <a:pt x="1139748" y="0"/>
                    </a:lnTo>
                    <a:lnTo>
                      <a:pt x="1139748" y="399068"/>
                    </a:lnTo>
                    <a:lnTo>
                      <a:pt x="1139748" y="424673"/>
                    </a:lnTo>
                    <a:lnTo>
                      <a:pt x="1139748" y="605784"/>
                    </a:lnTo>
                    <a:lnTo>
                      <a:pt x="1139748" y="684473"/>
                    </a:lnTo>
                    <a:lnTo>
                      <a:pt x="1139748" y="1237172"/>
                    </a:lnTo>
                    <a:lnTo>
                      <a:pt x="1139748" y="1288383"/>
                    </a:lnTo>
                    <a:lnTo>
                      <a:pt x="996733" y="1288383"/>
                    </a:lnTo>
                    <a:lnTo>
                      <a:pt x="821867" y="1288383"/>
                    </a:lnTo>
                    <a:lnTo>
                      <a:pt x="795013" y="1288383"/>
                    </a:lnTo>
                    <a:lnTo>
                      <a:pt x="676354" y="1097280"/>
                    </a:lnTo>
                    <a:lnTo>
                      <a:pt x="643255" y="1044196"/>
                    </a:lnTo>
                    <a:lnTo>
                      <a:pt x="524596" y="853718"/>
                    </a:lnTo>
                    <a:lnTo>
                      <a:pt x="394072" y="643879"/>
                    </a:lnTo>
                    <a:cubicBezTo>
                      <a:pt x="359099" y="588922"/>
                      <a:pt x="318505" y="521474"/>
                      <a:pt x="291026" y="466516"/>
                    </a:cubicBezTo>
                    <a:cubicBezTo>
                      <a:pt x="287279" y="459646"/>
                      <a:pt x="283532" y="452152"/>
                      <a:pt x="280409" y="445282"/>
                    </a:cubicBezTo>
                    <a:cubicBezTo>
                      <a:pt x="280409" y="449654"/>
                      <a:pt x="280409" y="454650"/>
                      <a:pt x="281034" y="459646"/>
                    </a:cubicBezTo>
                    <a:cubicBezTo>
                      <a:pt x="282907" y="514604"/>
                      <a:pt x="286654" y="578305"/>
                      <a:pt x="286654" y="633262"/>
                    </a:cubicBezTo>
                    <a:lnTo>
                      <a:pt x="286654" y="853093"/>
                    </a:lnTo>
                    <a:lnTo>
                      <a:pt x="286654" y="1288383"/>
                    </a:lnTo>
                    <a:lnTo>
                      <a:pt x="1249" y="1288383"/>
                    </a:lnTo>
                    <a:lnTo>
                      <a:pt x="1249" y="853093"/>
                    </a:lnTo>
                    <a:lnTo>
                      <a:pt x="1249" y="276038"/>
                    </a:lnTo>
                    <a:lnTo>
                      <a:pt x="1249" y="216708"/>
                    </a:lnTo>
                    <a:lnTo>
                      <a:pt x="1249" y="201720"/>
                    </a:lnTo>
                    <a:close/>
                  </a:path>
                </a:pathLst>
              </a:custGeom>
              <a:solidFill>
                <a:srgbClr val="FFFFFF"/>
              </a:solidFill>
              <a:ln w="6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44" name="Vrije vorm: vorm 43">
                <a:extLst>
                  <a:ext uri="{FF2B5EF4-FFF2-40B4-BE49-F238E27FC236}">
                    <a16:creationId xmlns:a16="http://schemas.microsoft.com/office/drawing/2014/main" id="{9CE202D0-9F74-4B21-AFF9-00FA4144996F}"/>
                  </a:ext>
                </a:extLst>
              </p:cNvPr>
              <p:cNvSpPr/>
              <p:nvPr/>
            </p:nvSpPr>
            <p:spPr>
              <a:xfrm>
                <a:off x="1981043" y="2787618"/>
                <a:ext cx="322251" cy="1287758"/>
              </a:xfrm>
              <a:custGeom>
                <a:avLst/>
                <a:gdLst>
                  <a:gd name="connsiteX0" fmla="*/ 0 w 322251"/>
                  <a:gd name="connsiteY0" fmla="*/ 0 h 1287758"/>
                  <a:gd name="connsiteX1" fmla="*/ 322252 w 322251"/>
                  <a:gd name="connsiteY1" fmla="*/ 0 h 1287758"/>
                  <a:gd name="connsiteX2" fmla="*/ 322252 w 322251"/>
                  <a:gd name="connsiteY2" fmla="*/ 1287758 h 1287758"/>
                  <a:gd name="connsiteX3" fmla="*/ 0 w 322251"/>
                  <a:gd name="connsiteY3" fmla="*/ 1287758 h 128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2251" h="1287758">
                    <a:moveTo>
                      <a:pt x="0" y="0"/>
                    </a:moveTo>
                    <a:lnTo>
                      <a:pt x="322252" y="0"/>
                    </a:lnTo>
                    <a:lnTo>
                      <a:pt x="322252" y="1287758"/>
                    </a:lnTo>
                    <a:lnTo>
                      <a:pt x="0" y="1287758"/>
                    </a:lnTo>
                    <a:close/>
                  </a:path>
                </a:pathLst>
              </a:custGeom>
              <a:solidFill>
                <a:srgbClr val="FFFFFF"/>
              </a:solidFill>
              <a:ln w="6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45" name="Vrije vorm: vorm 44">
                <a:extLst>
                  <a:ext uri="{FF2B5EF4-FFF2-40B4-BE49-F238E27FC236}">
                    <a16:creationId xmlns:a16="http://schemas.microsoft.com/office/drawing/2014/main" id="{0BDA8C7A-30EA-4939-AB58-517DFA2B5A25}"/>
                  </a:ext>
                </a:extLst>
              </p:cNvPr>
              <p:cNvSpPr/>
              <p:nvPr/>
            </p:nvSpPr>
            <p:spPr>
              <a:xfrm>
                <a:off x="2619302" y="2787618"/>
                <a:ext cx="1116639" cy="1287758"/>
              </a:xfrm>
              <a:custGeom>
                <a:avLst/>
                <a:gdLst>
                  <a:gd name="connsiteX0" fmla="*/ 469638 w 1116639"/>
                  <a:gd name="connsiteY0" fmla="*/ 0 h 1287758"/>
                  <a:gd name="connsiteX1" fmla="*/ 0 w 1116639"/>
                  <a:gd name="connsiteY1" fmla="*/ 0 h 1287758"/>
                  <a:gd name="connsiteX2" fmla="*/ 0 w 1116639"/>
                  <a:gd name="connsiteY2" fmla="*/ 853093 h 1287758"/>
                  <a:gd name="connsiteX3" fmla="*/ 0 w 1116639"/>
                  <a:gd name="connsiteY3" fmla="*/ 1287758 h 1287758"/>
                  <a:gd name="connsiteX4" fmla="*/ 463393 w 1116639"/>
                  <a:gd name="connsiteY4" fmla="*/ 1287758 h 1287758"/>
                  <a:gd name="connsiteX5" fmla="*/ 1089161 w 1116639"/>
                  <a:gd name="connsiteY5" fmla="*/ 852469 h 1287758"/>
                  <a:gd name="connsiteX6" fmla="*/ 1116640 w 1116639"/>
                  <a:gd name="connsiteY6" fmla="*/ 643255 h 1287758"/>
                  <a:gd name="connsiteX7" fmla="*/ 469638 w 1116639"/>
                  <a:gd name="connsiteY7" fmla="*/ 0 h 1287758"/>
                  <a:gd name="connsiteX8" fmla="*/ 746300 w 1116639"/>
                  <a:gd name="connsiteY8" fmla="*/ 851844 h 1287758"/>
                  <a:gd name="connsiteX9" fmla="*/ 432167 w 1116639"/>
                  <a:gd name="connsiteY9" fmla="*/ 1022962 h 1287758"/>
                  <a:gd name="connsiteX10" fmla="*/ 322876 w 1116639"/>
                  <a:gd name="connsiteY10" fmla="*/ 1022962 h 1287758"/>
                  <a:gd name="connsiteX11" fmla="*/ 322876 w 1116639"/>
                  <a:gd name="connsiteY11" fmla="*/ 852469 h 1287758"/>
                  <a:gd name="connsiteX12" fmla="*/ 322876 w 1116639"/>
                  <a:gd name="connsiteY12" fmla="*/ 260425 h 1287758"/>
                  <a:gd name="connsiteX13" fmla="*/ 444658 w 1116639"/>
                  <a:gd name="connsiteY13" fmla="*/ 260425 h 1287758"/>
                  <a:gd name="connsiteX14" fmla="*/ 779400 w 1116639"/>
                  <a:gd name="connsiteY14" fmla="*/ 642630 h 1287758"/>
                  <a:gd name="connsiteX15" fmla="*/ 746300 w 1116639"/>
                  <a:gd name="connsiteY15" fmla="*/ 851844 h 1287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116639" h="1287758">
                    <a:moveTo>
                      <a:pt x="469638" y="0"/>
                    </a:moveTo>
                    <a:lnTo>
                      <a:pt x="0" y="0"/>
                    </a:lnTo>
                    <a:lnTo>
                      <a:pt x="0" y="853093"/>
                    </a:lnTo>
                    <a:lnTo>
                      <a:pt x="0" y="1287758"/>
                    </a:lnTo>
                    <a:lnTo>
                      <a:pt x="463393" y="1287758"/>
                    </a:lnTo>
                    <a:cubicBezTo>
                      <a:pt x="840603" y="1287758"/>
                      <a:pt x="1024836" y="1087288"/>
                      <a:pt x="1089161" y="852469"/>
                    </a:cubicBezTo>
                    <a:cubicBezTo>
                      <a:pt x="1107897" y="784396"/>
                      <a:pt x="1116640" y="713201"/>
                      <a:pt x="1116640" y="643255"/>
                    </a:cubicBezTo>
                    <a:cubicBezTo>
                      <a:pt x="1116640" y="309761"/>
                      <a:pt x="943024" y="0"/>
                      <a:pt x="469638" y="0"/>
                    </a:cubicBezTo>
                    <a:close/>
                    <a:moveTo>
                      <a:pt x="746300" y="851844"/>
                    </a:moveTo>
                    <a:cubicBezTo>
                      <a:pt x="703208" y="956139"/>
                      <a:pt x="612029" y="1022962"/>
                      <a:pt x="432167" y="1022962"/>
                    </a:cubicBezTo>
                    <a:lnTo>
                      <a:pt x="322876" y="1022962"/>
                    </a:lnTo>
                    <a:lnTo>
                      <a:pt x="322876" y="852469"/>
                    </a:lnTo>
                    <a:lnTo>
                      <a:pt x="322876" y="260425"/>
                    </a:lnTo>
                    <a:lnTo>
                      <a:pt x="444658" y="260425"/>
                    </a:lnTo>
                    <a:cubicBezTo>
                      <a:pt x="715074" y="260425"/>
                      <a:pt x="779400" y="424049"/>
                      <a:pt x="779400" y="642630"/>
                    </a:cubicBezTo>
                    <a:cubicBezTo>
                      <a:pt x="779400" y="721319"/>
                      <a:pt x="770656" y="793139"/>
                      <a:pt x="746300" y="851844"/>
                    </a:cubicBezTo>
                    <a:close/>
                  </a:path>
                </a:pathLst>
              </a:custGeom>
              <a:solidFill>
                <a:srgbClr val="FFFFFF"/>
              </a:solidFill>
              <a:ln w="6241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  <p:sp>
          <p:nvSpPr>
            <p:cNvPr id="47" name="Vrije vorm: vorm 46">
              <a:extLst>
                <a:ext uri="{FF2B5EF4-FFF2-40B4-BE49-F238E27FC236}">
                  <a16:creationId xmlns:a16="http://schemas.microsoft.com/office/drawing/2014/main" id="{F61F867B-7F82-4173-9B76-E7876773E345}"/>
                </a:ext>
              </a:extLst>
            </p:cNvPr>
            <p:cNvSpPr/>
            <p:nvPr/>
          </p:nvSpPr>
          <p:spPr>
            <a:xfrm>
              <a:off x="5916138" y="3154836"/>
              <a:ext cx="331619" cy="486500"/>
            </a:xfrm>
            <a:custGeom>
              <a:avLst/>
              <a:gdLst>
                <a:gd name="connsiteX0" fmla="*/ 0 w 331619"/>
                <a:gd name="connsiteY0" fmla="*/ 425922 h 486500"/>
                <a:gd name="connsiteX1" fmla="*/ 231697 w 331619"/>
                <a:gd name="connsiteY1" fmla="*/ 66824 h 486500"/>
                <a:gd name="connsiteX2" fmla="*/ 9367 w 331619"/>
                <a:gd name="connsiteY2" fmla="*/ 66824 h 486500"/>
                <a:gd name="connsiteX3" fmla="*/ 9367 w 331619"/>
                <a:gd name="connsiteY3" fmla="*/ 0 h 486500"/>
                <a:gd name="connsiteX4" fmla="*/ 325374 w 331619"/>
                <a:gd name="connsiteY4" fmla="*/ 0 h 486500"/>
                <a:gd name="connsiteX5" fmla="*/ 325374 w 331619"/>
                <a:gd name="connsiteY5" fmla="*/ 63076 h 486500"/>
                <a:gd name="connsiteX6" fmla="*/ 97425 w 331619"/>
                <a:gd name="connsiteY6" fmla="*/ 419052 h 486500"/>
                <a:gd name="connsiteX7" fmla="*/ 331620 w 331619"/>
                <a:gd name="connsiteY7" fmla="*/ 419052 h 486500"/>
                <a:gd name="connsiteX8" fmla="*/ 331620 w 331619"/>
                <a:gd name="connsiteY8" fmla="*/ 486500 h 486500"/>
                <a:gd name="connsiteX9" fmla="*/ 0 w 331619"/>
                <a:gd name="connsiteY9" fmla="*/ 486500 h 486500"/>
                <a:gd name="connsiteX10" fmla="*/ 0 w 331619"/>
                <a:gd name="connsiteY10" fmla="*/ 425922 h 48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1619" h="486500">
                  <a:moveTo>
                    <a:pt x="0" y="425922"/>
                  </a:moveTo>
                  <a:lnTo>
                    <a:pt x="231697" y="66824"/>
                  </a:lnTo>
                  <a:lnTo>
                    <a:pt x="9367" y="66824"/>
                  </a:lnTo>
                  <a:lnTo>
                    <a:pt x="9367" y="0"/>
                  </a:lnTo>
                  <a:lnTo>
                    <a:pt x="325374" y="0"/>
                  </a:lnTo>
                  <a:lnTo>
                    <a:pt x="325374" y="63076"/>
                  </a:lnTo>
                  <a:lnTo>
                    <a:pt x="97425" y="419052"/>
                  </a:lnTo>
                  <a:lnTo>
                    <a:pt x="331620" y="419052"/>
                  </a:lnTo>
                  <a:lnTo>
                    <a:pt x="331620" y="486500"/>
                  </a:lnTo>
                  <a:lnTo>
                    <a:pt x="0" y="486500"/>
                  </a:lnTo>
                  <a:lnTo>
                    <a:pt x="0" y="425922"/>
                  </a:ln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48" name="Vrije vorm: vorm 47">
              <a:extLst>
                <a:ext uri="{FF2B5EF4-FFF2-40B4-BE49-F238E27FC236}">
                  <a16:creationId xmlns:a16="http://schemas.microsoft.com/office/drawing/2014/main" id="{59E1DB2B-DE18-4E49-ABBE-1CA2B707057E}"/>
                </a:ext>
              </a:extLst>
            </p:cNvPr>
            <p:cNvSpPr/>
            <p:nvPr/>
          </p:nvSpPr>
          <p:spPr>
            <a:xfrm>
              <a:off x="6303340" y="3253510"/>
              <a:ext cx="349106" cy="394071"/>
            </a:xfrm>
            <a:custGeom>
              <a:avLst/>
              <a:gdLst>
                <a:gd name="connsiteX0" fmla="*/ 0 w 349106"/>
                <a:gd name="connsiteY0" fmla="*/ 197348 h 394071"/>
                <a:gd name="connsiteX1" fmla="*/ 174866 w 349106"/>
                <a:gd name="connsiteY1" fmla="*/ 0 h 394071"/>
                <a:gd name="connsiteX2" fmla="*/ 349106 w 349106"/>
                <a:gd name="connsiteY2" fmla="*/ 197348 h 394071"/>
                <a:gd name="connsiteX3" fmla="*/ 174241 w 349106"/>
                <a:gd name="connsiteY3" fmla="*/ 394072 h 394071"/>
                <a:gd name="connsiteX4" fmla="*/ 0 w 349106"/>
                <a:gd name="connsiteY4" fmla="*/ 197348 h 394071"/>
                <a:gd name="connsiteX5" fmla="*/ 267294 w 349106"/>
                <a:gd name="connsiteY5" fmla="*/ 197348 h 394071"/>
                <a:gd name="connsiteX6" fmla="*/ 173616 w 349106"/>
                <a:gd name="connsiteY6" fmla="*/ 60578 h 394071"/>
                <a:gd name="connsiteX7" fmla="*/ 81812 w 349106"/>
                <a:gd name="connsiteY7" fmla="*/ 197348 h 394071"/>
                <a:gd name="connsiteX8" fmla="*/ 174866 w 349106"/>
                <a:gd name="connsiteY8" fmla="*/ 332869 h 394071"/>
                <a:gd name="connsiteX9" fmla="*/ 267294 w 349106"/>
                <a:gd name="connsiteY9" fmla="*/ 197348 h 394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9106" h="394071">
                  <a:moveTo>
                    <a:pt x="0" y="197348"/>
                  </a:moveTo>
                  <a:cubicBezTo>
                    <a:pt x="0" y="94927"/>
                    <a:pt x="54958" y="0"/>
                    <a:pt x="174866" y="0"/>
                  </a:cubicBezTo>
                  <a:cubicBezTo>
                    <a:pt x="294773" y="0"/>
                    <a:pt x="349106" y="86808"/>
                    <a:pt x="349106" y="197348"/>
                  </a:cubicBezTo>
                  <a:cubicBezTo>
                    <a:pt x="349106" y="299769"/>
                    <a:pt x="293524" y="394072"/>
                    <a:pt x="174241" y="394072"/>
                  </a:cubicBezTo>
                  <a:cubicBezTo>
                    <a:pt x="54333" y="394072"/>
                    <a:pt x="0" y="307888"/>
                    <a:pt x="0" y="197348"/>
                  </a:cubicBezTo>
                  <a:close/>
                  <a:moveTo>
                    <a:pt x="267294" y="197348"/>
                  </a:moveTo>
                  <a:cubicBezTo>
                    <a:pt x="267294" y="126778"/>
                    <a:pt x="247934" y="60578"/>
                    <a:pt x="173616" y="60578"/>
                  </a:cubicBezTo>
                  <a:cubicBezTo>
                    <a:pt x="100548" y="60578"/>
                    <a:pt x="81812" y="126778"/>
                    <a:pt x="81812" y="197348"/>
                  </a:cubicBezTo>
                  <a:cubicBezTo>
                    <a:pt x="81812" y="266670"/>
                    <a:pt x="100548" y="332869"/>
                    <a:pt x="174866" y="332869"/>
                  </a:cubicBezTo>
                  <a:cubicBezTo>
                    <a:pt x="248559" y="332869"/>
                    <a:pt x="267294" y="266670"/>
                    <a:pt x="267294" y="197348"/>
                  </a:cubicBez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49" name="Vrije vorm: vorm 48">
              <a:extLst>
                <a:ext uri="{FF2B5EF4-FFF2-40B4-BE49-F238E27FC236}">
                  <a16:creationId xmlns:a16="http://schemas.microsoft.com/office/drawing/2014/main" id="{14BC17B8-7028-47F2-84D8-D932314DDBD1}"/>
                </a:ext>
              </a:extLst>
            </p:cNvPr>
            <p:cNvSpPr/>
            <p:nvPr/>
          </p:nvSpPr>
          <p:spPr>
            <a:xfrm>
              <a:off x="6734883" y="3253510"/>
              <a:ext cx="206091" cy="387826"/>
            </a:xfrm>
            <a:custGeom>
              <a:avLst/>
              <a:gdLst>
                <a:gd name="connsiteX0" fmla="*/ 0 w 206091"/>
                <a:gd name="connsiteY0" fmla="*/ 6245 h 387826"/>
                <a:gd name="connsiteX1" fmla="*/ 78065 w 206091"/>
                <a:gd name="connsiteY1" fmla="*/ 6245 h 387826"/>
                <a:gd name="connsiteX2" fmla="*/ 78065 w 206091"/>
                <a:gd name="connsiteY2" fmla="*/ 46215 h 387826"/>
                <a:gd name="connsiteX3" fmla="*/ 174240 w 206091"/>
                <a:gd name="connsiteY3" fmla="*/ 0 h 387826"/>
                <a:gd name="connsiteX4" fmla="*/ 206091 w 206091"/>
                <a:gd name="connsiteY4" fmla="*/ 4996 h 387826"/>
                <a:gd name="connsiteX5" fmla="*/ 206091 w 206091"/>
                <a:gd name="connsiteY5" fmla="*/ 76191 h 387826"/>
                <a:gd name="connsiteX6" fmla="*/ 166122 w 206091"/>
                <a:gd name="connsiteY6" fmla="*/ 70571 h 387826"/>
                <a:gd name="connsiteX7" fmla="*/ 78689 w 206091"/>
                <a:gd name="connsiteY7" fmla="*/ 102421 h 387826"/>
                <a:gd name="connsiteX8" fmla="*/ 78689 w 206091"/>
                <a:gd name="connsiteY8" fmla="*/ 387827 h 387826"/>
                <a:gd name="connsiteX9" fmla="*/ 0 w 206091"/>
                <a:gd name="connsiteY9" fmla="*/ 387827 h 387826"/>
                <a:gd name="connsiteX10" fmla="*/ 0 w 206091"/>
                <a:gd name="connsiteY10" fmla="*/ 6245 h 387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6091" h="387826">
                  <a:moveTo>
                    <a:pt x="0" y="6245"/>
                  </a:moveTo>
                  <a:lnTo>
                    <a:pt x="78065" y="6245"/>
                  </a:lnTo>
                  <a:lnTo>
                    <a:pt x="78065" y="46215"/>
                  </a:lnTo>
                  <a:cubicBezTo>
                    <a:pt x="101796" y="18736"/>
                    <a:pt x="133022" y="0"/>
                    <a:pt x="174240" y="0"/>
                  </a:cubicBezTo>
                  <a:cubicBezTo>
                    <a:pt x="184858" y="0"/>
                    <a:pt x="197972" y="2498"/>
                    <a:pt x="206091" y="4996"/>
                  </a:cubicBezTo>
                  <a:lnTo>
                    <a:pt x="206091" y="76191"/>
                  </a:lnTo>
                  <a:cubicBezTo>
                    <a:pt x="196723" y="73693"/>
                    <a:pt x="183608" y="70571"/>
                    <a:pt x="166122" y="70571"/>
                  </a:cubicBezTo>
                  <a:cubicBezTo>
                    <a:pt x="123030" y="70571"/>
                    <a:pt x="99298" y="85559"/>
                    <a:pt x="78689" y="102421"/>
                  </a:cubicBezTo>
                  <a:lnTo>
                    <a:pt x="78689" y="387827"/>
                  </a:lnTo>
                  <a:lnTo>
                    <a:pt x="0" y="387827"/>
                  </a:lnTo>
                  <a:lnTo>
                    <a:pt x="0" y="6245"/>
                  </a:ln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0" name="Vrije vorm: vorm 49">
              <a:extLst>
                <a:ext uri="{FF2B5EF4-FFF2-40B4-BE49-F238E27FC236}">
                  <a16:creationId xmlns:a16="http://schemas.microsoft.com/office/drawing/2014/main" id="{45C84D43-4358-4F97-9912-2C16280BB578}"/>
                </a:ext>
              </a:extLst>
            </p:cNvPr>
            <p:cNvSpPr/>
            <p:nvPr/>
          </p:nvSpPr>
          <p:spPr>
            <a:xfrm>
              <a:off x="6965330" y="3253510"/>
              <a:ext cx="352228" cy="536493"/>
            </a:xfrm>
            <a:custGeom>
              <a:avLst/>
              <a:gdLst>
                <a:gd name="connsiteX0" fmla="*/ 0 w 352228"/>
                <a:gd name="connsiteY0" fmla="*/ 438412 h 536493"/>
                <a:gd name="connsiteX1" fmla="*/ 70571 w 352228"/>
                <a:gd name="connsiteY1" fmla="*/ 354102 h 536493"/>
                <a:gd name="connsiteX2" fmla="*/ 38096 w 352228"/>
                <a:gd name="connsiteY2" fmla="*/ 297896 h 536493"/>
                <a:gd name="connsiteX3" fmla="*/ 79938 w 352228"/>
                <a:gd name="connsiteY3" fmla="*/ 237317 h 536493"/>
                <a:gd name="connsiteX4" fmla="*/ 18111 w 352228"/>
                <a:gd name="connsiteY4" fmla="*/ 130524 h 536493"/>
                <a:gd name="connsiteX5" fmla="*/ 167996 w 352228"/>
                <a:gd name="connsiteY5" fmla="*/ 0 h 536493"/>
                <a:gd name="connsiteX6" fmla="*/ 226701 w 352228"/>
                <a:gd name="connsiteY6" fmla="*/ 6245 h 536493"/>
                <a:gd name="connsiteX7" fmla="*/ 352229 w 352228"/>
                <a:gd name="connsiteY7" fmla="*/ 6245 h 536493"/>
                <a:gd name="connsiteX8" fmla="*/ 352229 w 352228"/>
                <a:gd name="connsiteY8" fmla="*/ 62452 h 536493"/>
                <a:gd name="connsiteX9" fmla="*/ 291650 w 352228"/>
                <a:gd name="connsiteY9" fmla="*/ 62452 h 536493"/>
                <a:gd name="connsiteX10" fmla="*/ 319129 w 352228"/>
                <a:gd name="connsiteY10" fmla="*/ 132398 h 536493"/>
                <a:gd name="connsiteX11" fmla="*/ 168620 w 352228"/>
                <a:gd name="connsiteY11" fmla="*/ 257926 h 536493"/>
                <a:gd name="connsiteX12" fmla="*/ 125528 w 352228"/>
                <a:gd name="connsiteY12" fmla="*/ 252930 h 536493"/>
                <a:gd name="connsiteX13" fmla="*/ 106169 w 352228"/>
                <a:gd name="connsiteY13" fmla="*/ 281658 h 536493"/>
                <a:gd name="connsiteX14" fmla="*/ 141766 w 352228"/>
                <a:gd name="connsiteY14" fmla="*/ 307264 h 536493"/>
                <a:gd name="connsiteX15" fmla="*/ 214835 w 352228"/>
                <a:gd name="connsiteY15" fmla="*/ 311010 h 536493"/>
                <a:gd name="connsiteX16" fmla="*/ 342237 w 352228"/>
                <a:gd name="connsiteY16" fmla="*/ 414681 h 536493"/>
                <a:gd name="connsiteX17" fmla="*/ 161126 w 352228"/>
                <a:gd name="connsiteY17" fmla="*/ 536462 h 536493"/>
                <a:gd name="connsiteX18" fmla="*/ 0 w 352228"/>
                <a:gd name="connsiteY18" fmla="*/ 438412 h 536493"/>
                <a:gd name="connsiteX19" fmla="*/ 263547 w 352228"/>
                <a:gd name="connsiteY19" fmla="*/ 422799 h 536493"/>
                <a:gd name="connsiteX20" fmla="*/ 178613 w 352228"/>
                <a:gd name="connsiteY20" fmla="*/ 373462 h 536493"/>
                <a:gd name="connsiteX21" fmla="*/ 119908 w 352228"/>
                <a:gd name="connsiteY21" fmla="*/ 370340 h 536493"/>
                <a:gd name="connsiteX22" fmla="*/ 73069 w 352228"/>
                <a:gd name="connsiteY22" fmla="*/ 429045 h 536493"/>
                <a:gd name="connsiteX23" fmla="*/ 163624 w 352228"/>
                <a:gd name="connsiteY23" fmla="*/ 481504 h 536493"/>
                <a:gd name="connsiteX24" fmla="*/ 263547 w 352228"/>
                <a:gd name="connsiteY24" fmla="*/ 422799 h 536493"/>
                <a:gd name="connsiteX25" fmla="*/ 242314 w 352228"/>
                <a:gd name="connsiteY25" fmla="*/ 129900 h 536493"/>
                <a:gd name="connsiteX26" fmla="*/ 167996 w 352228"/>
                <a:gd name="connsiteY26" fmla="*/ 53709 h 536493"/>
                <a:gd name="connsiteX27" fmla="*/ 93678 w 352228"/>
                <a:gd name="connsiteY27" fmla="*/ 129900 h 536493"/>
                <a:gd name="connsiteX28" fmla="*/ 167996 w 352228"/>
                <a:gd name="connsiteY28" fmla="*/ 204842 h 536493"/>
                <a:gd name="connsiteX29" fmla="*/ 242314 w 352228"/>
                <a:gd name="connsiteY29" fmla="*/ 129900 h 536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52228" h="536493">
                  <a:moveTo>
                    <a:pt x="0" y="438412"/>
                  </a:moveTo>
                  <a:cubicBezTo>
                    <a:pt x="0" y="395321"/>
                    <a:pt x="37471" y="367842"/>
                    <a:pt x="70571" y="354102"/>
                  </a:cubicBezTo>
                  <a:cubicBezTo>
                    <a:pt x="51835" y="344110"/>
                    <a:pt x="38096" y="326623"/>
                    <a:pt x="38096" y="297896"/>
                  </a:cubicBezTo>
                  <a:cubicBezTo>
                    <a:pt x="38096" y="267294"/>
                    <a:pt x="61828" y="246685"/>
                    <a:pt x="79938" y="237317"/>
                  </a:cubicBezTo>
                  <a:cubicBezTo>
                    <a:pt x="40594" y="214835"/>
                    <a:pt x="18111" y="177363"/>
                    <a:pt x="18111" y="130524"/>
                  </a:cubicBezTo>
                  <a:cubicBezTo>
                    <a:pt x="18111" y="55582"/>
                    <a:pt x="75567" y="0"/>
                    <a:pt x="167996" y="0"/>
                  </a:cubicBezTo>
                  <a:cubicBezTo>
                    <a:pt x="190479" y="0"/>
                    <a:pt x="208590" y="3123"/>
                    <a:pt x="226701" y="6245"/>
                  </a:cubicBezTo>
                  <a:lnTo>
                    <a:pt x="352229" y="6245"/>
                  </a:lnTo>
                  <a:lnTo>
                    <a:pt x="352229" y="62452"/>
                  </a:lnTo>
                  <a:lnTo>
                    <a:pt x="291650" y="62452"/>
                  </a:lnTo>
                  <a:cubicBezTo>
                    <a:pt x="309761" y="81812"/>
                    <a:pt x="319129" y="105544"/>
                    <a:pt x="319129" y="132398"/>
                  </a:cubicBezTo>
                  <a:cubicBezTo>
                    <a:pt x="319129" y="203593"/>
                    <a:pt x="263547" y="257926"/>
                    <a:pt x="168620" y="257926"/>
                  </a:cubicBezTo>
                  <a:cubicBezTo>
                    <a:pt x="153632" y="257926"/>
                    <a:pt x="139268" y="256053"/>
                    <a:pt x="125528" y="252930"/>
                  </a:cubicBezTo>
                  <a:cubicBezTo>
                    <a:pt x="116161" y="258551"/>
                    <a:pt x="106169" y="268543"/>
                    <a:pt x="106169" y="281658"/>
                  </a:cubicBezTo>
                  <a:cubicBezTo>
                    <a:pt x="106169" y="297271"/>
                    <a:pt x="115536" y="306014"/>
                    <a:pt x="141766" y="307264"/>
                  </a:cubicBezTo>
                  <a:lnTo>
                    <a:pt x="214835" y="311010"/>
                  </a:lnTo>
                  <a:cubicBezTo>
                    <a:pt x="286030" y="314133"/>
                    <a:pt x="342237" y="339739"/>
                    <a:pt x="342237" y="414681"/>
                  </a:cubicBezTo>
                  <a:cubicBezTo>
                    <a:pt x="342237" y="493995"/>
                    <a:pt x="270417" y="536462"/>
                    <a:pt x="161126" y="536462"/>
                  </a:cubicBezTo>
                  <a:cubicBezTo>
                    <a:pt x="63077" y="537711"/>
                    <a:pt x="0" y="501489"/>
                    <a:pt x="0" y="438412"/>
                  </a:cubicBezTo>
                  <a:close/>
                  <a:moveTo>
                    <a:pt x="263547" y="422799"/>
                  </a:moveTo>
                  <a:cubicBezTo>
                    <a:pt x="263547" y="388451"/>
                    <a:pt x="241064" y="375961"/>
                    <a:pt x="178613" y="373462"/>
                  </a:cubicBezTo>
                  <a:cubicBezTo>
                    <a:pt x="152383" y="372838"/>
                    <a:pt x="129275" y="370964"/>
                    <a:pt x="119908" y="370340"/>
                  </a:cubicBezTo>
                  <a:cubicBezTo>
                    <a:pt x="98674" y="380332"/>
                    <a:pt x="73069" y="397194"/>
                    <a:pt x="73069" y="429045"/>
                  </a:cubicBezTo>
                  <a:cubicBezTo>
                    <a:pt x="73069" y="465891"/>
                    <a:pt x="111164" y="481504"/>
                    <a:pt x="163624" y="481504"/>
                  </a:cubicBezTo>
                  <a:cubicBezTo>
                    <a:pt x="232946" y="481504"/>
                    <a:pt x="263547" y="459646"/>
                    <a:pt x="263547" y="422799"/>
                  </a:cubicBezTo>
                  <a:close/>
                  <a:moveTo>
                    <a:pt x="242314" y="129900"/>
                  </a:moveTo>
                  <a:cubicBezTo>
                    <a:pt x="242314" y="89931"/>
                    <a:pt x="218582" y="53709"/>
                    <a:pt x="167996" y="53709"/>
                  </a:cubicBezTo>
                  <a:cubicBezTo>
                    <a:pt x="117410" y="53709"/>
                    <a:pt x="93678" y="90555"/>
                    <a:pt x="93678" y="129900"/>
                  </a:cubicBezTo>
                  <a:cubicBezTo>
                    <a:pt x="93678" y="169245"/>
                    <a:pt x="117410" y="204842"/>
                    <a:pt x="167996" y="204842"/>
                  </a:cubicBezTo>
                  <a:cubicBezTo>
                    <a:pt x="219206" y="204842"/>
                    <a:pt x="242314" y="169869"/>
                    <a:pt x="242314" y="129900"/>
                  </a:cubicBez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1" name="Vrije vorm: vorm 50">
              <a:extLst>
                <a:ext uri="{FF2B5EF4-FFF2-40B4-BE49-F238E27FC236}">
                  <a16:creationId xmlns:a16="http://schemas.microsoft.com/office/drawing/2014/main" id="{AE9B876A-D304-4126-8FE6-AA8A9FEA9B47}"/>
                </a:ext>
              </a:extLst>
            </p:cNvPr>
            <p:cNvSpPr/>
            <p:nvPr/>
          </p:nvSpPr>
          <p:spPr>
            <a:xfrm>
              <a:off x="7368769" y="3253510"/>
              <a:ext cx="325999" cy="394071"/>
            </a:xfrm>
            <a:custGeom>
              <a:avLst/>
              <a:gdLst>
                <a:gd name="connsiteX0" fmla="*/ 0 w 325999"/>
                <a:gd name="connsiteY0" fmla="*/ 197348 h 394071"/>
                <a:gd name="connsiteX1" fmla="*/ 174866 w 325999"/>
                <a:gd name="connsiteY1" fmla="*/ 0 h 394071"/>
                <a:gd name="connsiteX2" fmla="*/ 325999 w 325999"/>
                <a:gd name="connsiteY2" fmla="*/ 171118 h 394071"/>
                <a:gd name="connsiteX3" fmla="*/ 324126 w 325999"/>
                <a:gd name="connsiteY3" fmla="*/ 202969 h 394071"/>
                <a:gd name="connsiteX4" fmla="*/ 79939 w 325999"/>
                <a:gd name="connsiteY4" fmla="*/ 202969 h 394071"/>
                <a:gd name="connsiteX5" fmla="*/ 192352 w 325999"/>
                <a:gd name="connsiteY5" fmla="*/ 332244 h 394071"/>
                <a:gd name="connsiteX6" fmla="*/ 302268 w 325999"/>
                <a:gd name="connsiteY6" fmla="*/ 309137 h 394071"/>
                <a:gd name="connsiteX7" fmla="*/ 302268 w 325999"/>
                <a:gd name="connsiteY7" fmla="*/ 372214 h 394071"/>
                <a:gd name="connsiteX8" fmla="*/ 188605 w 325999"/>
                <a:gd name="connsiteY8" fmla="*/ 394072 h 394071"/>
                <a:gd name="connsiteX9" fmla="*/ 0 w 325999"/>
                <a:gd name="connsiteY9" fmla="*/ 197348 h 394071"/>
                <a:gd name="connsiteX10" fmla="*/ 247310 w 325999"/>
                <a:gd name="connsiteY10" fmla="*/ 151134 h 394071"/>
                <a:gd name="connsiteX11" fmla="*/ 247310 w 325999"/>
                <a:gd name="connsiteY11" fmla="*/ 147387 h 394071"/>
                <a:gd name="connsiteX12" fmla="*/ 174241 w 325999"/>
                <a:gd name="connsiteY12" fmla="*/ 60578 h 394071"/>
                <a:gd name="connsiteX13" fmla="*/ 83686 w 325999"/>
                <a:gd name="connsiteY13" fmla="*/ 151134 h 394071"/>
                <a:gd name="connsiteX14" fmla="*/ 247310 w 325999"/>
                <a:gd name="connsiteY14" fmla="*/ 151134 h 394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5999" h="394071">
                  <a:moveTo>
                    <a:pt x="0" y="197348"/>
                  </a:moveTo>
                  <a:cubicBezTo>
                    <a:pt x="0" y="85559"/>
                    <a:pt x="63077" y="0"/>
                    <a:pt x="174866" y="0"/>
                  </a:cubicBezTo>
                  <a:cubicBezTo>
                    <a:pt x="287903" y="0"/>
                    <a:pt x="325999" y="84935"/>
                    <a:pt x="325999" y="171118"/>
                  </a:cubicBezTo>
                  <a:cubicBezTo>
                    <a:pt x="325999" y="182360"/>
                    <a:pt x="325374" y="191727"/>
                    <a:pt x="324126" y="202969"/>
                  </a:cubicBezTo>
                  <a:lnTo>
                    <a:pt x="79939" y="202969"/>
                  </a:lnTo>
                  <a:cubicBezTo>
                    <a:pt x="80563" y="280409"/>
                    <a:pt x="111165" y="332244"/>
                    <a:pt x="192352" y="332244"/>
                  </a:cubicBezTo>
                  <a:cubicBezTo>
                    <a:pt x="238566" y="332244"/>
                    <a:pt x="274789" y="322252"/>
                    <a:pt x="302268" y="309137"/>
                  </a:cubicBezTo>
                  <a:lnTo>
                    <a:pt x="302268" y="372214"/>
                  </a:lnTo>
                  <a:cubicBezTo>
                    <a:pt x="276038" y="382830"/>
                    <a:pt x="232946" y="394072"/>
                    <a:pt x="188605" y="394072"/>
                  </a:cubicBezTo>
                  <a:cubicBezTo>
                    <a:pt x="58705" y="394072"/>
                    <a:pt x="0" y="314133"/>
                    <a:pt x="0" y="197348"/>
                  </a:cubicBezTo>
                  <a:close/>
                  <a:moveTo>
                    <a:pt x="247310" y="151134"/>
                  </a:moveTo>
                  <a:lnTo>
                    <a:pt x="247310" y="147387"/>
                  </a:lnTo>
                  <a:cubicBezTo>
                    <a:pt x="247310" y="103670"/>
                    <a:pt x="222953" y="60578"/>
                    <a:pt x="174241" y="60578"/>
                  </a:cubicBezTo>
                  <a:cubicBezTo>
                    <a:pt x="128027" y="60578"/>
                    <a:pt x="91804" y="86184"/>
                    <a:pt x="83686" y="151134"/>
                  </a:cubicBezTo>
                  <a:lnTo>
                    <a:pt x="247310" y="151134"/>
                  </a:ln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2" name="Vrije vorm: vorm 51">
              <a:extLst>
                <a:ext uri="{FF2B5EF4-FFF2-40B4-BE49-F238E27FC236}">
                  <a16:creationId xmlns:a16="http://schemas.microsoft.com/office/drawing/2014/main" id="{C17A50D8-70A6-4E74-857B-B6076CF91ADA}"/>
                </a:ext>
              </a:extLst>
            </p:cNvPr>
            <p:cNvSpPr/>
            <p:nvPr/>
          </p:nvSpPr>
          <p:spPr>
            <a:xfrm>
              <a:off x="7779703" y="3110495"/>
              <a:ext cx="78064" cy="530841"/>
            </a:xfrm>
            <a:custGeom>
              <a:avLst/>
              <a:gdLst>
                <a:gd name="connsiteX0" fmla="*/ 0 w 78064"/>
                <a:gd name="connsiteY0" fmla="*/ 0 h 530841"/>
                <a:gd name="connsiteX1" fmla="*/ 78065 w 78064"/>
                <a:gd name="connsiteY1" fmla="*/ 0 h 530841"/>
                <a:gd name="connsiteX2" fmla="*/ 78065 w 78064"/>
                <a:gd name="connsiteY2" fmla="*/ 530841 h 530841"/>
                <a:gd name="connsiteX3" fmla="*/ 0 w 78064"/>
                <a:gd name="connsiteY3" fmla="*/ 530841 h 530841"/>
                <a:gd name="connsiteX4" fmla="*/ 0 w 78064"/>
                <a:gd name="connsiteY4" fmla="*/ 0 h 530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064" h="530841">
                  <a:moveTo>
                    <a:pt x="0" y="0"/>
                  </a:moveTo>
                  <a:lnTo>
                    <a:pt x="78065" y="0"/>
                  </a:lnTo>
                  <a:lnTo>
                    <a:pt x="78065" y="530841"/>
                  </a:lnTo>
                  <a:lnTo>
                    <a:pt x="0" y="5308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3" name="Vrije vorm: vorm 52">
              <a:extLst>
                <a:ext uri="{FF2B5EF4-FFF2-40B4-BE49-F238E27FC236}">
                  <a16:creationId xmlns:a16="http://schemas.microsoft.com/office/drawing/2014/main" id="{04F44B64-872E-4FDB-8B20-F4A0104909A1}"/>
                </a:ext>
              </a:extLst>
            </p:cNvPr>
            <p:cNvSpPr/>
            <p:nvPr/>
          </p:nvSpPr>
          <p:spPr>
            <a:xfrm>
              <a:off x="7942078" y="3253510"/>
              <a:ext cx="349106" cy="394071"/>
            </a:xfrm>
            <a:custGeom>
              <a:avLst/>
              <a:gdLst>
                <a:gd name="connsiteX0" fmla="*/ 0 w 349106"/>
                <a:gd name="connsiteY0" fmla="*/ 197348 h 394071"/>
                <a:gd name="connsiteX1" fmla="*/ 174866 w 349106"/>
                <a:gd name="connsiteY1" fmla="*/ 0 h 394071"/>
                <a:gd name="connsiteX2" fmla="*/ 349106 w 349106"/>
                <a:gd name="connsiteY2" fmla="*/ 197348 h 394071"/>
                <a:gd name="connsiteX3" fmla="*/ 174241 w 349106"/>
                <a:gd name="connsiteY3" fmla="*/ 394072 h 394071"/>
                <a:gd name="connsiteX4" fmla="*/ 0 w 349106"/>
                <a:gd name="connsiteY4" fmla="*/ 197348 h 394071"/>
                <a:gd name="connsiteX5" fmla="*/ 267294 w 349106"/>
                <a:gd name="connsiteY5" fmla="*/ 197348 h 394071"/>
                <a:gd name="connsiteX6" fmla="*/ 173616 w 349106"/>
                <a:gd name="connsiteY6" fmla="*/ 60578 h 394071"/>
                <a:gd name="connsiteX7" fmla="*/ 81812 w 349106"/>
                <a:gd name="connsiteY7" fmla="*/ 197348 h 394071"/>
                <a:gd name="connsiteX8" fmla="*/ 174866 w 349106"/>
                <a:gd name="connsiteY8" fmla="*/ 332869 h 394071"/>
                <a:gd name="connsiteX9" fmla="*/ 267294 w 349106"/>
                <a:gd name="connsiteY9" fmla="*/ 197348 h 394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9106" h="394071">
                  <a:moveTo>
                    <a:pt x="0" y="197348"/>
                  </a:moveTo>
                  <a:cubicBezTo>
                    <a:pt x="0" y="94927"/>
                    <a:pt x="54958" y="0"/>
                    <a:pt x="174866" y="0"/>
                  </a:cubicBezTo>
                  <a:cubicBezTo>
                    <a:pt x="294773" y="0"/>
                    <a:pt x="349106" y="86808"/>
                    <a:pt x="349106" y="197348"/>
                  </a:cubicBezTo>
                  <a:cubicBezTo>
                    <a:pt x="349106" y="299769"/>
                    <a:pt x="293524" y="394072"/>
                    <a:pt x="174241" y="394072"/>
                  </a:cubicBezTo>
                  <a:cubicBezTo>
                    <a:pt x="54333" y="394072"/>
                    <a:pt x="0" y="307888"/>
                    <a:pt x="0" y="197348"/>
                  </a:cubicBezTo>
                  <a:close/>
                  <a:moveTo>
                    <a:pt x="267294" y="197348"/>
                  </a:moveTo>
                  <a:cubicBezTo>
                    <a:pt x="267294" y="126778"/>
                    <a:pt x="247934" y="60578"/>
                    <a:pt x="173616" y="60578"/>
                  </a:cubicBezTo>
                  <a:cubicBezTo>
                    <a:pt x="99923" y="60578"/>
                    <a:pt x="81812" y="126778"/>
                    <a:pt x="81812" y="197348"/>
                  </a:cubicBezTo>
                  <a:cubicBezTo>
                    <a:pt x="81812" y="266670"/>
                    <a:pt x="100548" y="332869"/>
                    <a:pt x="174866" y="332869"/>
                  </a:cubicBezTo>
                  <a:cubicBezTo>
                    <a:pt x="249183" y="332869"/>
                    <a:pt x="267294" y="266670"/>
                    <a:pt x="267294" y="197348"/>
                  </a:cubicBez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4" name="Vrije vorm: vorm 53">
              <a:extLst>
                <a:ext uri="{FF2B5EF4-FFF2-40B4-BE49-F238E27FC236}">
                  <a16:creationId xmlns:a16="http://schemas.microsoft.com/office/drawing/2014/main" id="{2CD961B1-7FDF-4317-AE40-B7A703D69EF4}"/>
                </a:ext>
              </a:extLst>
            </p:cNvPr>
            <p:cNvSpPr/>
            <p:nvPr/>
          </p:nvSpPr>
          <p:spPr>
            <a:xfrm>
              <a:off x="8346766" y="3253510"/>
              <a:ext cx="349106" cy="394071"/>
            </a:xfrm>
            <a:custGeom>
              <a:avLst/>
              <a:gdLst>
                <a:gd name="connsiteX0" fmla="*/ 0 w 349106"/>
                <a:gd name="connsiteY0" fmla="*/ 197348 h 394071"/>
                <a:gd name="connsiteX1" fmla="*/ 174865 w 349106"/>
                <a:gd name="connsiteY1" fmla="*/ 0 h 394071"/>
                <a:gd name="connsiteX2" fmla="*/ 349106 w 349106"/>
                <a:gd name="connsiteY2" fmla="*/ 197348 h 394071"/>
                <a:gd name="connsiteX3" fmla="*/ 174241 w 349106"/>
                <a:gd name="connsiteY3" fmla="*/ 394072 h 394071"/>
                <a:gd name="connsiteX4" fmla="*/ 0 w 349106"/>
                <a:gd name="connsiteY4" fmla="*/ 197348 h 394071"/>
                <a:gd name="connsiteX5" fmla="*/ 267919 w 349106"/>
                <a:gd name="connsiteY5" fmla="*/ 197348 h 394071"/>
                <a:gd name="connsiteX6" fmla="*/ 174241 w 349106"/>
                <a:gd name="connsiteY6" fmla="*/ 60578 h 394071"/>
                <a:gd name="connsiteX7" fmla="*/ 82437 w 349106"/>
                <a:gd name="connsiteY7" fmla="*/ 197348 h 394071"/>
                <a:gd name="connsiteX8" fmla="*/ 175490 w 349106"/>
                <a:gd name="connsiteY8" fmla="*/ 332869 h 394071"/>
                <a:gd name="connsiteX9" fmla="*/ 267919 w 349106"/>
                <a:gd name="connsiteY9" fmla="*/ 197348 h 394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9106" h="394071">
                  <a:moveTo>
                    <a:pt x="0" y="197348"/>
                  </a:moveTo>
                  <a:cubicBezTo>
                    <a:pt x="0" y="94927"/>
                    <a:pt x="54333" y="0"/>
                    <a:pt x="174865" y="0"/>
                  </a:cubicBezTo>
                  <a:cubicBezTo>
                    <a:pt x="294773" y="0"/>
                    <a:pt x="349106" y="86808"/>
                    <a:pt x="349106" y="197348"/>
                  </a:cubicBezTo>
                  <a:cubicBezTo>
                    <a:pt x="349106" y="299769"/>
                    <a:pt x="293524" y="394072"/>
                    <a:pt x="174241" y="394072"/>
                  </a:cubicBezTo>
                  <a:cubicBezTo>
                    <a:pt x="54958" y="394072"/>
                    <a:pt x="0" y="307888"/>
                    <a:pt x="0" y="197348"/>
                  </a:cubicBezTo>
                  <a:close/>
                  <a:moveTo>
                    <a:pt x="267919" y="197348"/>
                  </a:moveTo>
                  <a:cubicBezTo>
                    <a:pt x="267919" y="126778"/>
                    <a:pt x="248559" y="60578"/>
                    <a:pt x="174241" y="60578"/>
                  </a:cubicBezTo>
                  <a:cubicBezTo>
                    <a:pt x="101172" y="60578"/>
                    <a:pt x="82437" y="126778"/>
                    <a:pt x="82437" y="197348"/>
                  </a:cubicBezTo>
                  <a:cubicBezTo>
                    <a:pt x="82437" y="266670"/>
                    <a:pt x="101172" y="332869"/>
                    <a:pt x="175490" y="332869"/>
                  </a:cubicBezTo>
                  <a:cubicBezTo>
                    <a:pt x="249183" y="332869"/>
                    <a:pt x="267919" y="266670"/>
                    <a:pt x="267919" y="197348"/>
                  </a:cubicBez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5" name="Vrije vorm: vorm 54">
              <a:extLst>
                <a:ext uri="{FF2B5EF4-FFF2-40B4-BE49-F238E27FC236}">
                  <a16:creationId xmlns:a16="http://schemas.microsoft.com/office/drawing/2014/main" id="{AD40C4DA-9DCE-4069-9315-0D7C6CD93412}"/>
                </a:ext>
              </a:extLst>
            </p:cNvPr>
            <p:cNvSpPr/>
            <p:nvPr/>
          </p:nvSpPr>
          <p:spPr>
            <a:xfrm>
              <a:off x="8754578" y="3253510"/>
              <a:ext cx="257301" cy="394071"/>
            </a:xfrm>
            <a:custGeom>
              <a:avLst/>
              <a:gdLst>
                <a:gd name="connsiteX0" fmla="*/ 0 w 257301"/>
                <a:gd name="connsiteY0" fmla="*/ 372838 h 394071"/>
                <a:gd name="connsiteX1" fmla="*/ 0 w 257301"/>
                <a:gd name="connsiteY1" fmla="*/ 310386 h 394071"/>
                <a:gd name="connsiteX2" fmla="*/ 105543 w 257301"/>
                <a:gd name="connsiteY2" fmla="*/ 332869 h 394071"/>
                <a:gd name="connsiteX3" fmla="*/ 179861 w 257301"/>
                <a:gd name="connsiteY3" fmla="*/ 281658 h 394071"/>
                <a:gd name="connsiteX4" fmla="*/ 108666 w 257301"/>
                <a:gd name="connsiteY4" fmla="*/ 224827 h 394071"/>
                <a:gd name="connsiteX5" fmla="*/ 1248 w 257301"/>
                <a:gd name="connsiteY5" fmla="*/ 109915 h 394071"/>
                <a:gd name="connsiteX6" fmla="*/ 138018 w 257301"/>
                <a:gd name="connsiteY6" fmla="*/ 0 h 394071"/>
                <a:gd name="connsiteX7" fmla="*/ 234195 w 257301"/>
                <a:gd name="connsiteY7" fmla="*/ 16238 h 394071"/>
                <a:gd name="connsiteX8" fmla="*/ 234195 w 257301"/>
                <a:gd name="connsiteY8" fmla="*/ 79314 h 394071"/>
                <a:gd name="connsiteX9" fmla="*/ 141141 w 257301"/>
                <a:gd name="connsiteY9" fmla="*/ 60578 h 394071"/>
                <a:gd name="connsiteX10" fmla="*/ 76190 w 257301"/>
                <a:gd name="connsiteY10" fmla="*/ 104295 h 394071"/>
                <a:gd name="connsiteX11" fmla="*/ 144888 w 257301"/>
                <a:gd name="connsiteY11" fmla="*/ 159253 h 394071"/>
                <a:gd name="connsiteX12" fmla="*/ 257302 w 257301"/>
                <a:gd name="connsiteY12" fmla="*/ 277287 h 394071"/>
                <a:gd name="connsiteX13" fmla="*/ 117409 w 257301"/>
                <a:gd name="connsiteY13" fmla="*/ 394072 h 394071"/>
                <a:gd name="connsiteX14" fmla="*/ 0 w 257301"/>
                <a:gd name="connsiteY14" fmla="*/ 372838 h 394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7301" h="394071">
                  <a:moveTo>
                    <a:pt x="0" y="372838"/>
                  </a:moveTo>
                  <a:lnTo>
                    <a:pt x="0" y="310386"/>
                  </a:lnTo>
                  <a:cubicBezTo>
                    <a:pt x="24980" y="321003"/>
                    <a:pt x="69321" y="332869"/>
                    <a:pt x="105543" y="332869"/>
                  </a:cubicBezTo>
                  <a:cubicBezTo>
                    <a:pt x="155505" y="332869"/>
                    <a:pt x="179861" y="316631"/>
                    <a:pt x="179861" y="281658"/>
                  </a:cubicBezTo>
                  <a:cubicBezTo>
                    <a:pt x="179861" y="249808"/>
                    <a:pt x="155505" y="241064"/>
                    <a:pt x="108666" y="224827"/>
                  </a:cubicBezTo>
                  <a:cubicBezTo>
                    <a:pt x="52459" y="208589"/>
                    <a:pt x="1248" y="178612"/>
                    <a:pt x="1248" y="109915"/>
                  </a:cubicBezTo>
                  <a:cubicBezTo>
                    <a:pt x="1248" y="34349"/>
                    <a:pt x="56831" y="0"/>
                    <a:pt x="138018" y="0"/>
                  </a:cubicBezTo>
                  <a:cubicBezTo>
                    <a:pt x="177987" y="0"/>
                    <a:pt x="215459" y="8743"/>
                    <a:pt x="234195" y="16238"/>
                  </a:cubicBezTo>
                  <a:lnTo>
                    <a:pt x="234195" y="79314"/>
                  </a:lnTo>
                  <a:cubicBezTo>
                    <a:pt x="214210" y="70571"/>
                    <a:pt x="178612" y="60578"/>
                    <a:pt x="141141" y="60578"/>
                  </a:cubicBezTo>
                  <a:cubicBezTo>
                    <a:pt x="97425" y="60578"/>
                    <a:pt x="76190" y="76191"/>
                    <a:pt x="76190" y="104295"/>
                  </a:cubicBezTo>
                  <a:cubicBezTo>
                    <a:pt x="76190" y="132398"/>
                    <a:pt x="95551" y="143640"/>
                    <a:pt x="144888" y="159253"/>
                  </a:cubicBezTo>
                  <a:cubicBezTo>
                    <a:pt x="197972" y="176114"/>
                    <a:pt x="257302" y="201095"/>
                    <a:pt x="257302" y="277287"/>
                  </a:cubicBezTo>
                  <a:cubicBezTo>
                    <a:pt x="257302" y="350355"/>
                    <a:pt x="201094" y="394072"/>
                    <a:pt x="117409" y="394072"/>
                  </a:cubicBezTo>
                  <a:cubicBezTo>
                    <a:pt x="71819" y="394072"/>
                    <a:pt x="26854" y="385328"/>
                    <a:pt x="0" y="372838"/>
                  </a:cubicBez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6" name="Vrije vorm: vorm 55">
              <a:extLst>
                <a:ext uri="{FF2B5EF4-FFF2-40B4-BE49-F238E27FC236}">
                  <a16:creationId xmlns:a16="http://schemas.microsoft.com/office/drawing/2014/main" id="{016226F8-6682-4FA5-AE0E-450C7F133CCE}"/>
                </a:ext>
              </a:extLst>
            </p:cNvPr>
            <p:cNvSpPr/>
            <p:nvPr/>
          </p:nvSpPr>
          <p:spPr>
            <a:xfrm>
              <a:off x="9257940" y="3253510"/>
              <a:ext cx="349105" cy="394071"/>
            </a:xfrm>
            <a:custGeom>
              <a:avLst/>
              <a:gdLst>
                <a:gd name="connsiteX0" fmla="*/ 0 w 349105"/>
                <a:gd name="connsiteY0" fmla="*/ 197348 h 394071"/>
                <a:gd name="connsiteX1" fmla="*/ 174865 w 349105"/>
                <a:gd name="connsiteY1" fmla="*/ 0 h 394071"/>
                <a:gd name="connsiteX2" fmla="*/ 349106 w 349105"/>
                <a:gd name="connsiteY2" fmla="*/ 197348 h 394071"/>
                <a:gd name="connsiteX3" fmla="*/ 174240 w 349105"/>
                <a:gd name="connsiteY3" fmla="*/ 394072 h 394071"/>
                <a:gd name="connsiteX4" fmla="*/ 0 w 349105"/>
                <a:gd name="connsiteY4" fmla="*/ 197348 h 394071"/>
                <a:gd name="connsiteX5" fmla="*/ 267918 w 349105"/>
                <a:gd name="connsiteY5" fmla="*/ 197348 h 394071"/>
                <a:gd name="connsiteX6" fmla="*/ 174240 w 349105"/>
                <a:gd name="connsiteY6" fmla="*/ 60578 h 394071"/>
                <a:gd name="connsiteX7" fmla="*/ 82436 w 349105"/>
                <a:gd name="connsiteY7" fmla="*/ 197348 h 394071"/>
                <a:gd name="connsiteX8" fmla="*/ 175490 w 349105"/>
                <a:gd name="connsiteY8" fmla="*/ 332869 h 394071"/>
                <a:gd name="connsiteX9" fmla="*/ 267918 w 349105"/>
                <a:gd name="connsiteY9" fmla="*/ 197348 h 394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49105" h="394071">
                  <a:moveTo>
                    <a:pt x="0" y="197348"/>
                  </a:moveTo>
                  <a:cubicBezTo>
                    <a:pt x="0" y="94927"/>
                    <a:pt x="54333" y="0"/>
                    <a:pt x="174865" y="0"/>
                  </a:cubicBezTo>
                  <a:cubicBezTo>
                    <a:pt x="295397" y="0"/>
                    <a:pt x="349106" y="86808"/>
                    <a:pt x="349106" y="197348"/>
                  </a:cubicBezTo>
                  <a:cubicBezTo>
                    <a:pt x="349106" y="299769"/>
                    <a:pt x="293524" y="394072"/>
                    <a:pt x="174240" y="394072"/>
                  </a:cubicBezTo>
                  <a:cubicBezTo>
                    <a:pt x="54333" y="394072"/>
                    <a:pt x="0" y="307888"/>
                    <a:pt x="0" y="197348"/>
                  </a:cubicBezTo>
                  <a:close/>
                  <a:moveTo>
                    <a:pt x="267918" y="197348"/>
                  </a:moveTo>
                  <a:cubicBezTo>
                    <a:pt x="267918" y="126778"/>
                    <a:pt x="248558" y="60578"/>
                    <a:pt x="174240" y="60578"/>
                  </a:cubicBezTo>
                  <a:cubicBezTo>
                    <a:pt x="101172" y="60578"/>
                    <a:pt x="82436" y="126778"/>
                    <a:pt x="82436" y="197348"/>
                  </a:cubicBezTo>
                  <a:cubicBezTo>
                    <a:pt x="82436" y="266670"/>
                    <a:pt x="101172" y="332869"/>
                    <a:pt x="175490" y="332869"/>
                  </a:cubicBezTo>
                  <a:cubicBezTo>
                    <a:pt x="249808" y="332869"/>
                    <a:pt x="267918" y="266670"/>
                    <a:pt x="267918" y="197348"/>
                  </a:cubicBez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7" name="Vrije vorm: vorm 56">
              <a:extLst>
                <a:ext uri="{FF2B5EF4-FFF2-40B4-BE49-F238E27FC236}">
                  <a16:creationId xmlns:a16="http://schemas.microsoft.com/office/drawing/2014/main" id="{4D0F26ED-0D8E-4276-B5BD-0BFE2088FA71}"/>
                </a:ext>
              </a:extLst>
            </p:cNvPr>
            <p:cNvSpPr/>
            <p:nvPr/>
          </p:nvSpPr>
          <p:spPr>
            <a:xfrm>
              <a:off x="9690731" y="3253510"/>
              <a:ext cx="307888" cy="387826"/>
            </a:xfrm>
            <a:custGeom>
              <a:avLst/>
              <a:gdLst>
                <a:gd name="connsiteX0" fmla="*/ 0 w 307888"/>
                <a:gd name="connsiteY0" fmla="*/ 6245 h 387826"/>
                <a:gd name="connsiteX1" fmla="*/ 77441 w 307888"/>
                <a:gd name="connsiteY1" fmla="*/ 6245 h 387826"/>
                <a:gd name="connsiteX2" fmla="*/ 77441 w 307888"/>
                <a:gd name="connsiteY2" fmla="*/ 36847 h 387826"/>
                <a:gd name="connsiteX3" fmla="*/ 182985 w 307888"/>
                <a:gd name="connsiteY3" fmla="*/ 0 h 387826"/>
                <a:gd name="connsiteX4" fmla="*/ 307888 w 307888"/>
                <a:gd name="connsiteY4" fmla="*/ 134896 h 387826"/>
                <a:gd name="connsiteX5" fmla="*/ 307888 w 307888"/>
                <a:gd name="connsiteY5" fmla="*/ 387827 h 387826"/>
                <a:gd name="connsiteX6" fmla="*/ 229198 w 307888"/>
                <a:gd name="connsiteY6" fmla="*/ 387827 h 387826"/>
                <a:gd name="connsiteX7" fmla="*/ 229198 w 307888"/>
                <a:gd name="connsiteY7" fmla="*/ 147387 h 387826"/>
                <a:gd name="connsiteX8" fmla="*/ 156755 w 307888"/>
                <a:gd name="connsiteY8" fmla="*/ 63077 h 387826"/>
                <a:gd name="connsiteX9" fmla="*/ 79314 w 307888"/>
                <a:gd name="connsiteY9" fmla="*/ 89931 h 387826"/>
                <a:gd name="connsiteX10" fmla="*/ 79314 w 307888"/>
                <a:gd name="connsiteY10" fmla="*/ 387827 h 387826"/>
                <a:gd name="connsiteX11" fmla="*/ 625 w 307888"/>
                <a:gd name="connsiteY11" fmla="*/ 387827 h 387826"/>
                <a:gd name="connsiteX12" fmla="*/ 625 w 307888"/>
                <a:gd name="connsiteY12" fmla="*/ 6245 h 387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7888" h="387826">
                  <a:moveTo>
                    <a:pt x="0" y="6245"/>
                  </a:moveTo>
                  <a:lnTo>
                    <a:pt x="77441" y="6245"/>
                  </a:lnTo>
                  <a:lnTo>
                    <a:pt x="77441" y="36847"/>
                  </a:lnTo>
                  <a:cubicBezTo>
                    <a:pt x="96801" y="21858"/>
                    <a:pt x="133023" y="0"/>
                    <a:pt x="182985" y="0"/>
                  </a:cubicBezTo>
                  <a:cubicBezTo>
                    <a:pt x="276037" y="0"/>
                    <a:pt x="307888" y="57456"/>
                    <a:pt x="307888" y="134896"/>
                  </a:cubicBezTo>
                  <a:lnTo>
                    <a:pt x="307888" y="387827"/>
                  </a:lnTo>
                  <a:lnTo>
                    <a:pt x="229198" y="387827"/>
                  </a:lnTo>
                  <a:lnTo>
                    <a:pt x="229198" y="147387"/>
                  </a:lnTo>
                  <a:cubicBezTo>
                    <a:pt x="229198" y="94303"/>
                    <a:pt x="213585" y="63077"/>
                    <a:pt x="156755" y="63077"/>
                  </a:cubicBezTo>
                  <a:cubicBezTo>
                    <a:pt x="125529" y="63077"/>
                    <a:pt x="97425" y="77440"/>
                    <a:pt x="79314" y="89931"/>
                  </a:cubicBezTo>
                  <a:lnTo>
                    <a:pt x="79314" y="387827"/>
                  </a:lnTo>
                  <a:lnTo>
                    <a:pt x="625" y="387827"/>
                  </a:lnTo>
                  <a:lnTo>
                    <a:pt x="625" y="6245"/>
                  </a:ln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8" name="Vrije vorm: vorm 57">
              <a:extLst>
                <a:ext uri="{FF2B5EF4-FFF2-40B4-BE49-F238E27FC236}">
                  <a16:creationId xmlns:a16="http://schemas.microsoft.com/office/drawing/2014/main" id="{8DB2D33B-6E74-4B1A-90B3-AE225D4C75DD}"/>
                </a:ext>
              </a:extLst>
            </p:cNvPr>
            <p:cNvSpPr/>
            <p:nvPr/>
          </p:nvSpPr>
          <p:spPr>
            <a:xfrm>
              <a:off x="10106661" y="3110495"/>
              <a:ext cx="78064" cy="530841"/>
            </a:xfrm>
            <a:custGeom>
              <a:avLst/>
              <a:gdLst>
                <a:gd name="connsiteX0" fmla="*/ 0 w 78064"/>
                <a:gd name="connsiteY0" fmla="*/ 0 h 530841"/>
                <a:gd name="connsiteX1" fmla="*/ 78065 w 78064"/>
                <a:gd name="connsiteY1" fmla="*/ 0 h 530841"/>
                <a:gd name="connsiteX2" fmla="*/ 78065 w 78064"/>
                <a:gd name="connsiteY2" fmla="*/ 530841 h 530841"/>
                <a:gd name="connsiteX3" fmla="*/ 0 w 78064"/>
                <a:gd name="connsiteY3" fmla="*/ 530841 h 530841"/>
                <a:gd name="connsiteX4" fmla="*/ 0 w 78064"/>
                <a:gd name="connsiteY4" fmla="*/ 0 h 530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064" h="530841">
                  <a:moveTo>
                    <a:pt x="0" y="0"/>
                  </a:moveTo>
                  <a:lnTo>
                    <a:pt x="78065" y="0"/>
                  </a:lnTo>
                  <a:lnTo>
                    <a:pt x="78065" y="530841"/>
                  </a:lnTo>
                  <a:lnTo>
                    <a:pt x="0" y="5308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59" name="Vrije vorm: vorm 58">
              <a:extLst>
                <a:ext uri="{FF2B5EF4-FFF2-40B4-BE49-F238E27FC236}">
                  <a16:creationId xmlns:a16="http://schemas.microsoft.com/office/drawing/2014/main" id="{B582D658-9E53-4B96-BA2A-FC3AADFF2614}"/>
                </a:ext>
              </a:extLst>
            </p:cNvPr>
            <p:cNvSpPr/>
            <p:nvPr/>
          </p:nvSpPr>
          <p:spPr>
            <a:xfrm>
              <a:off x="10292144" y="3096131"/>
              <a:ext cx="99922" cy="545205"/>
            </a:xfrm>
            <a:custGeom>
              <a:avLst/>
              <a:gdLst>
                <a:gd name="connsiteX0" fmla="*/ 0 w 99922"/>
                <a:gd name="connsiteY0" fmla="*/ 49337 h 545205"/>
                <a:gd name="connsiteX1" fmla="*/ 49962 w 99922"/>
                <a:gd name="connsiteY1" fmla="*/ 0 h 545205"/>
                <a:gd name="connsiteX2" fmla="*/ 99922 w 99922"/>
                <a:gd name="connsiteY2" fmla="*/ 49337 h 545205"/>
                <a:gd name="connsiteX3" fmla="*/ 49962 w 99922"/>
                <a:gd name="connsiteY3" fmla="*/ 98674 h 545205"/>
                <a:gd name="connsiteX4" fmla="*/ 0 w 99922"/>
                <a:gd name="connsiteY4" fmla="*/ 49337 h 545205"/>
                <a:gd name="connsiteX5" fmla="*/ 9993 w 99922"/>
                <a:gd name="connsiteY5" fmla="*/ 163624 h 545205"/>
                <a:gd name="connsiteX6" fmla="*/ 88682 w 99922"/>
                <a:gd name="connsiteY6" fmla="*/ 163624 h 545205"/>
                <a:gd name="connsiteX7" fmla="*/ 88682 w 99922"/>
                <a:gd name="connsiteY7" fmla="*/ 545205 h 545205"/>
                <a:gd name="connsiteX8" fmla="*/ 9993 w 99922"/>
                <a:gd name="connsiteY8" fmla="*/ 545205 h 545205"/>
                <a:gd name="connsiteX9" fmla="*/ 9993 w 99922"/>
                <a:gd name="connsiteY9" fmla="*/ 163624 h 5452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9922" h="545205">
                  <a:moveTo>
                    <a:pt x="0" y="49337"/>
                  </a:moveTo>
                  <a:cubicBezTo>
                    <a:pt x="0" y="23107"/>
                    <a:pt x="21233" y="0"/>
                    <a:pt x="49962" y="0"/>
                  </a:cubicBezTo>
                  <a:cubicBezTo>
                    <a:pt x="78065" y="0"/>
                    <a:pt x="99922" y="22483"/>
                    <a:pt x="99922" y="49337"/>
                  </a:cubicBezTo>
                  <a:cubicBezTo>
                    <a:pt x="99922" y="76191"/>
                    <a:pt x="78065" y="98674"/>
                    <a:pt x="49962" y="98674"/>
                  </a:cubicBezTo>
                  <a:cubicBezTo>
                    <a:pt x="21233" y="98674"/>
                    <a:pt x="0" y="76191"/>
                    <a:pt x="0" y="49337"/>
                  </a:cubicBezTo>
                  <a:close/>
                  <a:moveTo>
                    <a:pt x="9993" y="163624"/>
                  </a:moveTo>
                  <a:lnTo>
                    <a:pt x="88682" y="163624"/>
                  </a:lnTo>
                  <a:lnTo>
                    <a:pt x="88682" y="545205"/>
                  </a:lnTo>
                  <a:lnTo>
                    <a:pt x="9993" y="545205"/>
                  </a:lnTo>
                  <a:lnTo>
                    <a:pt x="9993" y="163624"/>
                  </a:ln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60" name="Vrije vorm: vorm 59">
              <a:extLst>
                <a:ext uri="{FF2B5EF4-FFF2-40B4-BE49-F238E27FC236}">
                  <a16:creationId xmlns:a16="http://schemas.microsoft.com/office/drawing/2014/main" id="{494D1F3A-8B73-4375-B897-B29EDB39F359}"/>
                </a:ext>
              </a:extLst>
            </p:cNvPr>
            <p:cNvSpPr/>
            <p:nvPr/>
          </p:nvSpPr>
          <p:spPr>
            <a:xfrm>
              <a:off x="10498235" y="3253510"/>
              <a:ext cx="307887" cy="387826"/>
            </a:xfrm>
            <a:custGeom>
              <a:avLst/>
              <a:gdLst>
                <a:gd name="connsiteX0" fmla="*/ 0 w 307887"/>
                <a:gd name="connsiteY0" fmla="*/ 6245 h 387826"/>
                <a:gd name="connsiteX1" fmla="*/ 77440 w 307887"/>
                <a:gd name="connsiteY1" fmla="*/ 6245 h 387826"/>
                <a:gd name="connsiteX2" fmla="*/ 77440 w 307887"/>
                <a:gd name="connsiteY2" fmla="*/ 36847 h 387826"/>
                <a:gd name="connsiteX3" fmla="*/ 182984 w 307887"/>
                <a:gd name="connsiteY3" fmla="*/ 0 h 387826"/>
                <a:gd name="connsiteX4" fmla="*/ 307887 w 307887"/>
                <a:gd name="connsiteY4" fmla="*/ 134896 h 387826"/>
                <a:gd name="connsiteX5" fmla="*/ 307887 w 307887"/>
                <a:gd name="connsiteY5" fmla="*/ 387827 h 387826"/>
                <a:gd name="connsiteX6" fmla="*/ 229198 w 307887"/>
                <a:gd name="connsiteY6" fmla="*/ 387827 h 387826"/>
                <a:gd name="connsiteX7" fmla="*/ 229198 w 307887"/>
                <a:gd name="connsiteY7" fmla="*/ 147387 h 387826"/>
                <a:gd name="connsiteX8" fmla="*/ 156754 w 307887"/>
                <a:gd name="connsiteY8" fmla="*/ 63077 h 387826"/>
                <a:gd name="connsiteX9" fmla="*/ 79313 w 307887"/>
                <a:gd name="connsiteY9" fmla="*/ 89931 h 387826"/>
                <a:gd name="connsiteX10" fmla="*/ 79313 w 307887"/>
                <a:gd name="connsiteY10" fmla="*/ 387827 h 387826"/>
                <a:gd name="connsiteX11" fmla="*/ 624 w 307887"/>
                <a:gd name="connsiteY11" fmla="*/ 387827 h 387826"/>
                <a:gd name="connsiteX12" fmla="*/ 624 w 307887"/>
                <a:gd name="connsiteY12" fmla="*/ 6245 h 387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7887" h="387826">
                  <a:moveTo>
                    <a:pt x="0" y="6245"/>
                  </a:moveTo>
                  <a:lnTo>
                    <a:pt x="77440" y="6245"/>
                  </a:lnTo>
                  <a:lnTo>
                    <a:pt x="77440" y="36847"/>
                  </a:lnTo>
                  <a:cubicBezTo>
                    <a:pt x="96800" y="21858"/>
                    <a:pt x="133022" y="0"/>
                    <a:pt x="182984" y="0"/>
                  </a:cubicBezTo>
                  <a:cubicBezTo>
                    <a:pt x="276037" y="0"/>
                    <a:pt x="307887" y="57456"/>
                    <a:pt x="307887" y="134896"/>
                  </a:cubicBezTo>
                  <a:lnTo>
                    <a:pt x="307887" y="387827"/>
                  </a:lnTo>
                  <a:lnTo>
                    <a:pt x="229198" y="387827"/>
                  </a:lnTo>
                  <a:lnTo>
                    <a:pt x="229198" y="147387"/>
                  </a:lnTo>
                  <a:cubicBezTo>
                    <a:pt x="229198" y="94303"/>
                    <a:pt x="213585" y="63077"/>
                    <a:pt x="156754" y="63077"/>
                  </a:cubicBezTo>
                  <a:cubicBezTo>
                    <a:pt x="125528" y="63077"/>
                    <a:pt x="97425" y="77440"/>
                    <a:pt x="79313" y="89931"/>
                  </a:cubicBezTo>
                  <a:lnTo>
                    <a:pt x="79313" y="387827"/>
                  </a:lnTo>
                  <a:lnTo>
                    <a:pt x="624" y="387827"/>
                  </a:lnTo>
                  <a:lnTo>
                    <a:pt x="624" y="6245"/>
                  </a:ln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  <p:sp>
          <p:nvSpPr>
            <p:cNvPr id="61" name="Vrije vorm: vorm 60">
              <a:extLst>
                <a:ext uri="{FF2B5EF4-FFF2-40B4-BE49-F238E27FC236}">
                  <a16:creationId xmlns:a16="http://schemas.microsoft.com/office/drawing/2014/main" id="{896D8B72-8974-4DF3-9085-4C96E97E2F91}"/>
                </a:ext>
              </a:extLst>
            </p:cNvPr>
            <p:cNvSpPr/>
            <p:nvPr/>
          </p:nvSpPr>
          <p:spPr>
            <a:xfrm>
              <a:off x="10886061" y="3253510"/>
              <a:ext cx="325999" cy="394071"/>
            </a:xfrm>
            <a:custGeom>
              <a:avLst/>
              <a:gdLst>
                <a:gd name="connsiteX0" fmla="*/ 0 w 325999"/>
                <a:gd name="connsiteY0" fmla="*/ 197348 h 394071"/>
                <a:gd name="connsiteX1" fmla="*/ 174866 w 325999"/>
                <a:gd name="connsiteY1" fmla="*/ 0 h 394071"/>
                <a:gd name="connsiteX2" fmla="*/ 325999 w 325999"/>
                <a:gd name="connsiteY2" fmla="*/ 171118 h 394071"/>
                <a:gd name="connsiteX3" fmla="*/ 324126 w 325999"/>
                <a:gd name="connsiteY3" fmla="*/ 202969 h 394071"/>
                <a:gd name="connsiteX4" fmla="*/ 79938 w 325999"/>
                <a:gd name="connsiteY4" fmla="*/ 202969 h 394071"/>
                <a:gd name="connsiteX5" fmla="*/ 192352 w 325999"/>
                <a:gd name="connsiteY5" fmla="*/ 332244 h 394071"/>
                <a:gd name="connsiteX6" fmla="*/ 302267 w 325999"/>
                <a:gd name="connsiteY6" fmla="*/ 309137 h 394071"/>
                <a:gd name="connsiteX7" fmla="*/ 302267 w 325999"/>
                <a:gd name="connsiteY7" fmla="*/ 372214 h 394071"/>
                <a:gd name="connsiteX8" fmla="*/ 188605 w 325999"/>
                <a:gd name="connsiteY8" fmla="*/ 394072 h 394071"/>
                <a:gd name="connsiteX9" fmla="*/ 0 w 325999"/>
                <a:gd name="connsiteY9" fmla="*/ 197348 h 394071"/>
                <a:gd name="connsiteX10" fmla="*/ 247934 w 325999"/>
                <a:gd name="connsiteY10" fmla="*/ 151134 h 394071"/>
                <a:gd name="connsiteX11" fmla="*/ 247934 w 325999"/>
                <a:gd name="connsiteY11" fmla="*/ 147387 h 394071"/>
                <a:gd name="connsiteX12" fmla="*/ 174866 w 325999"/>
                <a:gd name="connsiteY12" fmla="*/ 60578 h 394071"/>
                <a:gd name="connsiteX13" fmla="*/ 84310 w 325999"/>
                <a:gd name="connsiteY13" fmla="*/ 151134 h 394071"/>
                <a:gd name="connsiteX14" fmla="*/ 247934 w 325999"/>
                <a:gd name="connsiteY14" fmla="*/ 151134 h 394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5999" h="394071">
                  <a:moveTo>
                    <a:pt x="0" y="197348"/>
                  </a:moveTo>
                  <a:cubicBezTo>
                    <a:pt x="0" y="85559"/>
                    <a:pt x="63077" y="0"/>
                    <a:pt x="174866" y="0"/>
                  </a:cubicBezTo>
                  <a:cubicBezTo>
                    <a:pt x="287903" y="0"/>
                    <a:pt x="325999" y="84935"/>
                    <a:pt x="325999" y="171118"/>
                  </a:cubicBezTo>
                  <a:cubicBezTo>
                    <a:pt x="325999" y="182360"/>
                    <a:pt x="325375" y="191727"/>
                    <a:pt x="324126" y="202969"/>
                  </a:cubicBezTo>
                  <a:lnTo>
                    <a:pt x="79938" y="202969"/>
                  </a:lnTo>
                  <a:cubicBezTo>
                    <a:pt x="80564" y="280409"/>
                    <a:pt x="111164" y="332244"/>
                    <a:pt x="192352" y="332244"/>
                  </a:cubicBezTo>
                  <a:cubicBezTo>
                    <a:pt x="238567" y="332244"/>
                    <a:pt x="274789" y="322252"/>
                    <a:pt x="302267" y="309137"/>
                  </a:cubicBezTo>
                  <a:lnTo>
                    <a:pt x="302267" y="372214"/>
                  </a:lnTo>
                  <a:cubicBezTo>
                    <a:pt x="276037" y="382830"/>
                    <a:pt x="232945" y="394072"/>
                    <a:pt x="188605" y="394072"/>
                  </a:cubicBezTo>
                  <a:cubicBezTo>
                    <a:pt x="58705" y="394072"/>
                    <a:pt x="0" y="314133"/>
                    <a:pt x="0" y="197348"/>
                  </a:cubicBezTo>
                  <a:close/>
                  <a:moveTo>
                    <a:pt x="247934" y="151134"/>
                  </a:moveTo>
                  <a:lnTo>
                    <a:pt x="247934" y="147387"/>
                  </a:lnTo>
                  <a:cubicBezTo>
                    <a:pt x="247934" y="103670"/>
                    <a:pt x="223578" y="60578"/>
                    <a:pt x="174866" y="60578"/>
                  </a:cubicBezTo>
                  <a:cubicBezTo>
                    <a:pt x="128651" y="60578"/>
                    <a:pt x="92429" y="86184"/>
                    <a:pt x="84310" y="151134"/>
                  </a:cubicBezTo>
                  <a:lnTo>
                    <a:pt x="247934" y="151134"/>
                  </a:lnTo>
                  <a:close/>
                </a:path>
              </a:pathLst>
            </a:custGeom>
            <a:solidFill>
              <a:srgbClr val="1F60AA"/>
            </a:solidFill>
            <a:ln w="6241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val="1038595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+ Tekst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763000" y="1092201"/>
            <a:ext cx="2970074" cy="4680000"/>
          </a:xfrm>
        </p:spPr>
        <p:txBody>
          <a:bodyPr vert="horz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Publiek</a:t>
            </a:r>
            <a:r>
              <a:rPr lang="en-GB" dirty="0"/>
              <a:t> 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458926" y="1092201"/>
            <a:ext cx="7921949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Afbeelding + </a:t>
            </a:r>
            <a:r>
              <a:rPr lang="nl-NL" dirty="0"/>
              <a:t>Tekst</a:t>
            </a:r>
            <a:r>
              <a:rPr lang="nl-NL" baseline="0" dirty="0"/>
              <a:t> (75%/25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F8FC0A6-FCFA-1A68-39FC-F777122F632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9171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Publiek</a:t>
            </a:r>
            <a:r>
              <a:rPr lang="en-GB" dirty="0"/>
              <a:t> 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458926" y="1092201"/>
            <a:ext cx="11274148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Afbeelding (100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0E8B2DC4-3E4E-D43F-2343-092D1428C7A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2282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Publiek</a:t>
            </a:r>
            <a:r>
              <a:rPr lang="en-GB" dirty="0"/>
              <a:t> 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Media (100%)</a:t>
            </a:r>
            <a:endParaRPr lang="nl-NL" dirty="0"/>
          </a:p>
        </p:txBody>
      </p:sp>
      <p:sp>
        <p:nvSpPr>
          <p:cNvPr id="85" name="Tijdelijke aanduiding voor media 12"/>
          <p:cNvSpPr>
            <a:spLocks noGrp="1"/>
          </p:cNvSpPr>
          <p:nvPr>
            <p:ph type="media" sz="quarter" idx="14"/>
          </p:nvPr>
        </p:nvSpPr>
        <p:spPr>
          <a:xfrm>
            <a:off x="458926" y="1092201"/>
            <a:ext cx="112752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nl-NL"/>
              <a:t>Klik op het pictogram als u media wilt toevoegen</a:t>
            </a:r>
          </a:p>
        </p:txBody>
      </p:sp>
      <p:grpSp>
        <p:nvGrpSpPr>
          <p:cNvPr id="86" name="Groep 85"/>
          <p:cNvGrpSpPr/>
          <p:nvPr userDrawn="1"/>
        </p:nvGrpSpPr>
        <p:grpSpPr>
          <a:xfrm>
            <a:off x="12727582" y="19956"/>
            <a:ext cx="2818959" cy="6868888"/>
            <a:chOff x="12727582" y="19956"/>
            <a:chExt cx="2818959" cy="6868888"/>
          </a:xfrm>
        </p:grpSpPr>
        <p:grpSp>
          <p:nvGrpSpPr>
            <p:cNvPr id="87" name="Groep 86"/>
            <p:cNvGrpSpPr/>
            <p:nvPr userDrawn="1"/>
          </p:nvGrpSpPr>
          <p:grpSpPr>
            <a:xfrm>
              <a:off x="12841995" y="19956"/>
              <a:ext cx="2704546" cy="6868888"/>
              <a:chOff x="12841995" y="19956"/>
              <a:chExt cx="2704546" cy="6868888"/>
            </a:xfrm>
          </p:grpSpPr>
          <p:sp>
            <p:nvSpPr>
              <p:cNvPr id="96" name="Rechthoek 95"/>
              <p:cNvSpPr/>
              <p:nvPr/>
            </p:nvSpPr>
            <p:spPr>
              <a:xfrm>
                <a:off x="12854728" y="19956"/>
                <a:ext cx="2677678" cy="288015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 dirty="0">
                    <a:solidFill>
                      <a:srgbClr val="3560AB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VIDEO INVOEGEN</a:t>
                </a:r>
              </a:p>
            </p:txBody>
          </p:sp>
          <p:sp>
            <p:nvSpPr>
              <p:cNvPr id="97" name="Tekstvak 33"/>
              <p:cNvSpPr txBox="1"/>
              <p:nvPr/>
            </p:nvSpPr>
            <p:spPr>
              <a:xfrm>
                <a:off x="12854728" y="890735"/>
                <a:ext cx="2584447" cy="73069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Indien nodig, verwijder de bestaande video. Klik op het pictogram om een video in te voegen</a:t>
                </a:r>
                <a:b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</a:br>
                <a: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(zie onderstaand voorbeeld).</a:t>
                </a:r>
              </a:p>
            </p:txBody>
          </p:sp>
          <p:sp>
            <p:nvSpPr>
              <p:cNvPr id="98" name="Tekstvak 33"/>
              <p:cNvSpPr txBox="1"/>
              <p:nvPr/>
            </p:nvSpPr>
            <p:spPr>
              <a:xfrm>
                <a:off x="12850334" y="2994504"/>
                <a:ext cx="2592287" cy="44485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Selecteer de video die u wilt invoegen en klik op </a:t>
                </a:r>
                <a:r>
                  <a:rPr lang="nl-NL" sz="1200" b="1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Invoegen’</a:t>
                </a:r>
              </a:p>
            </p:txBody>
          </p:sp>
          <p:sp>
            <p:nvSpPr>
              <p:cNvPr id="99" name="Ovaal 98"/>
              <p:cNvSpPr/>
              <p:nvPr/>
            </p:nvSpPr>
            <p:spPr>
              <a:xfrm>
                <a:off x="12854728" y="461734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1</a:t>
                </a:r>
              </a:p>
            </p:txBody>
          </p:sp>
          <p:sp>
            <p:nvSpPr>
              <p:cNvPr id="100" name="Ovaal 99"/>
              <p:cNvSpPr/>
              <p:nvPr/>
            </p:nvSpPr>
            <p:spPr>
              <a:xfrm>
                <a:off x="12859803" y="2568608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2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2858801" y="308420"/>
                <a:ext cx="267593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102" name="Rechte verbindingslijn 101"/>
              <p:cNvCxnSpPr/>
              <p:nvPr/>
            </p:nvCxnSpPr>
            <p:spPr>
              <a:xfrm>
                <a:off x="12850334" y="2418651"/>
                <a:ext cx="2684402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103" name="Rechte verbindingslijn 102"/>
              <p:cNvCxnSpPr/>
              <p:nvPr/>
            </p:nvCxnSpPr>
            <p:spPr>
              <a:xfrm>
                <a:off x="12841995" y="3994288"/>
                <a:ext cx="2692741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104" name="Tekstvak 33"/>
              <p:cNvSpPr txBox="1"/>
              <p:nvPr/>
            </p:nvSpPr>
            <p:spPr>
              <a:xfrm>
                <a:off x="12850334" y="4574793"/>
                <a:ext cx="2588841" cy="107187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Als u de video wilt schalen of verslepen, ga naar </a:t>
                </a:r>
                <a:r>
                  <a:rPr lang="nl-NL" sz="1200" b="1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Hulpmiddelen voor video’ </a:t>
                </a:r>
                <a: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en klik op </a:t>
                </a:r>
                <a:r>
                  <a:rPr lang="nl-NL" sz="1200" b="1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‘Bijsnijden’.</a:t>
                </a:r>
              </a:p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dirty="0"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Met de witte bolletjes schaalt u de video, met de zwarte haakjes schaalt u het videokader.</a:t>
                </a:r>
              </a:p>
            </p:txBody>
          </p:sp>
          <p:sp>
            <p:nvSpPr>
              <p:cNvPr id="105" name="Ovaal 104"/>
              <p:cNvSpPr/>
              <p:nvPr/>
            </p:nvSpPr>
            <p:spPr>
              <a:xfrm>
                <a:off x="12859802" y="4144703"/>
                <a:ext cx="359927" cy="359927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3</a:t>
                </a:r>
              </a:p>
            </p:txBody>
          </p:sp>
          <p:cxnSp>
            <p:nvCxnSpPr>
              <p:cNvPr id="106" name="Rechte verbindingslijn 105"/>
              <p:cNvCxnSpPr/>
              <p:nvPr/>
            </p:nvCxnSpPr>
            <p:spPr>
              <a:xfrm>
                <a:off x="12841995" y="6888844"/>
                <a:ext cx="2704546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107" name="Groep 106"/>
              <p:cNvGrpSpPr/>
              <p:nvPr/>
            </p:nvGrpSpPr>
            <p:grpSpPr>
              <a:xfrm>
                <a:off x="12854728" y="3520580"/>
                <a:ext cx="1114138" cy="297656"/>
                <a:chOff x="13560784" y="3471416"/>
                <a:chExt cx="1114138" cy="297656"/>
              </a:xfrm>
            </p:grpSpPr>
            <p:sp>
              <p:nvSpPr>
                <p:cNvPr id="120" name="Afgeronde rechthoek 119"/>
                <p:cNvSpPr/>
                <p:nvPr/>
              </p:nvSpPr>
              <p:spPr>
                <a:xfrm>
                  <a:off x="13560784" y="3471416"/>
                  <a:ext cx="1114138" cy="297656"/>
                </a:xfrm>
                <a:prstGeom prst="roundRect">
                  <a:avLst/>
                </a:prstGeom>
                <a:gradFill flip="none" rotWithShape="1">
                  <a:gsLst>
                    <a:gs pos="4000">
                      <a:srgbClr val="00B0F0"/>
                    </a:gs>
                    <a:gs pos="0">
                      <a:srgbClr val="0070C0"/>
                    </a:gs>
                    <a:gs pos="100000">
                      <a:srgbClr val="0070C0"/>
                    </a:gs>
                    <a:gs pos="12000">
                      <a:srgbClr val="D1EAFF"/>
                    </a:gs>
                    <a:gs pos="96000">
                      <a:srgbClr val="00B0F0"/>
                    </a:gs>
                    <a:gs pos="89000">
                      <a:srgbClr val="DDF4FF"/>
                    </a:gs>
                    <a:gs pos="43000">
                      <a:srgbClr val="D1EAFF"/>
                    </a:gs>
                    <a:gs pos="51000">
                      <a:srgbClr val="DDF4FF"/>
                    </a:gs>
                  </a:gsLst>
                  <a:lin ang="16200000" scaled="1"/>
                  <a:tileRect/>
                </a:gradFill>
                <a:ln w="63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dirty="0"/>
                </a:p>
              </p:txBody>
            </p:sp>
            <p:sp>
              <p:nvSpPr>
                <p:cNvPr id="121" name="Tekstvak 81"/>
                <p:cNvSpPr txBox="1"/>
                <p:nvPr/>
              </p:nvSpPr>
              <p:spPr>
                <a:xfrm>
                  <a:off x="13573594" y="3501896"/>
                  <a:ext cx="888311" cy="246221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i="0" u="none" strike="noStrike" kern="0" cap="none" spc="0" normalizeH="0" baseline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5pPr>
                  <a:lvl6pPr>
                    <a:defRPr>
                      <a:latin typeface="Arial" charset="0"/>
                      <a:cs typeface="Arial" charset="0"/>
                    </a:defRPr>
                  </a:lvl6pPr>
                  <a:lvl7pPr>
                    <a:defRPr>
                      <a:latin typeface="Arial" charset="0"/>
                      <a:cs typeface="Arial" charset="0"/>
                    </a:defRPr>
                  </a:lvl7pPr>
                  <a:lvl8pPr>
                    <a:defRPr>
                      <a:latin typeface="Arial" charset="0"/>
                      <a:cs typeface="Arial" charset="0"/>
                    </a:defRPr>
                  </a:lvl8pPr>
                  <a:lvl9pPr>
                    <a:defRPr>
                      <a:latin typeface="Arial" charset="0"/>
                      <a:cs typeface="Arial" charset="0"/>
                    </a:defRPr>
                  </a:lvl9pPr>
                </a:lstStyle>
                <a:p>
                  <a:r>
                    <a:rPr lang="nl-NL" sz="1000" dirty="0"/>
                    <a:t>Invoegen</a:t>
                  </a:r>
                </a:p>
              </p:txBody>
            </p:sp>
            <p:cxnSp>
              <p:nvCxnSpPr>
                <p:cNvPr id="122" name="Rechte verbindingslijn 121"/>
                <p:cNvCxnSpPr/>
                <p:nvPr/>
              </p:nvCxnSpPr>
              <p:spPr>
                <a:xfrm>
                  <a:off x="14461905" y="3507058"/>
                  <a:ext cx="0" cy="224432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3" name="Gelijkbenige driehoek 122"/>
                <p:cNvSpPr/>
                <p:nvPr/>
              </p:nvSpPr>
              <p:spPr>
                <a:xfrm rot="10800000">
                  <a:off x="14518584" y="3600521"/>
                  <a:ext cx="105309" cy="57157"/>
                </a:xfrm>
                <a:prstGeom prst="triangl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dirty="0"/>
                </a:p>
              </p:txBody>
            </p:sp>
          </p:grpSp>
          <p:grpSp>
            <p:nvGrpSpPr>
              <p:cNvPr id="108" name="Video icoon"/>
              <p:cNvGrpSpPr/>
              <p:nvPr userDrawn="1"/>
            </p:nvGrpSpPr>
            <p:grpSpPr>
              <a:xfrm>
                <a:off x="12867538" y="1744921"/>
                <a:ext cx="510875" cy="521956"/>
                <a:chOff x="10510560" y="2589326"/>
                <a:chExt cx="939297" cy="959670"/>
              </a:xfrm>
            </p:grpSpPr>
            <p:sp>
              <p:nvSpPr>
                <p:cNvPr id="109" name="Ovaal 108"/>
                <p:cNvSpPr/>
                <p:nvPr userDrawn="1"/>
              </p:nvSpPr>
              <p:spPr>
                <a:xfrm>
                  <a:off x="10565049" y="2589326"/>
                  <a:ext cx="769780" cy="769780"/>
                </a:xfrm>
                <a:prstGeom prst="ellipse">
                  <a:avLst/>
                </a:prstGeom>
                <a:gradFill flip="none" rotWithShape="1">
                  <a:gsLst>
                    <a:gs pos="53000">
                      <a:srgbClr val="1D1D1B">
                        <a:lumMod val="25000"/>
                        <a:lumOff val="75000"/>
                      </a:srgbClr>
                    </a:gs>
                    <a:gs pos="100000">
                      <a:srgbClr val="1D1D1B">
                        <a:lumMod val="50000"/>
                        <a:lumOff val="50000"/>
                      </a:srgbClr>
                    </a:gs>
                  </a:gsLst>
                  <a:lin ang="8100000" scaled="1"/>
                  <a:tileRect/>
                </a:gradFill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Ovaal 109"/>
                <p:cNvSpPr/>
                <p:nvPr userDrawn="1"/>
              </p:nvSpPr>
              <p:spPr>
                <a:xfrm>
                  <a:off x="10646722" y="2589326"/>
                  <a:ext cx="769780" cy="769780"/>
                </a:xfrm>
                <a:prstGeom prst="ellipse">
                  <a:avLst/>
                </a:prstGeom>
                <a:gradFill>
                  <a:gsLst>
                    <a:gs pos="0">
                      <a:srgbClr val="1D1D1B">
                        <a:lumMod val="10000"/>
                        <a:lumOff val="90000"/>
                      </a:srgbClr>
                    </a:gs>
                    <a:gs pos="100000">
                      <a:srgbClr val="1D1D1B">
                        <a:lumMod val="25000"/>
                        <a:lumOff val="75000"/>
                      </a:srgbClr>
                    </a:gs>
                  </a:gsLst>
                  <a:lin ang="8100000" scaled="1"/>
                </a:gradFill>
                <a:ln w="19050" cap="flat" cmpd="sng" algn="ctr">
                  <a:solidFill>
                    <a:srgbClr val="FFFFFF">
                      <a:lumMod val="50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grpSp>
              <p:nvGrpSpPr>
                <p:cNvPr id="111" name="Groep 110"/>
                <p:cNvGrpSpPr/>
                <p:nvPr userDrawn="1"/>
              </p:nvGrpSpPr>
              <p:grpSpPr>
                <a:xfrm>
                  <a:off x="10704223" y="2644466"/>
                  <a:ext cx="655000" cy="631020"/>
                  <a:chOff x="10707687" y="2647930"/>
                  <a:chExt cx="655000" cy="631020"/>
                </a:xfrm>
              </p:grpSpPr>
              <p:sp>
                <p:nvSpPr>
                  <p:cNvPr id="114" name="Ovaal 113"/>
                  <p:cNvSpPr/>
                  <p:nvPr userDrawn="1"/>
                </p:nvSpPr>
                <p:spPr>
                  <a:xfrm>
                    <a:off x="10923711" y="2647930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5" name="Ovaal 114"/>
                  <p:cNvSpPr/>
                  <p:nvPr userDrawn="1"/>
                </p:nvSpPr>
                <p:spPr>
                  <a:xfrm>
                    <a:off x="10707687" y="2800330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6" name="Ovaal 115"/>
                  <p:cNvSpPr/>
                  <p:nvPr userDrawn="1"/>
                </p:nvSpPr>
                <p:spPr>
                  <a:xfrm>
                    <a:off x="11146663" y="2800330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7" name="Ovaal 116"/>
                  <p:cNvSpPr/>
                  <p:nvPr userDrawn="1"/>
                </p:nvSpPr>
                <p:spPr>
                  <a:xfrm>
                    <a:off x="10793802" y="3062926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8" name="Ovaal 117"/>
                  <p:cNvSpPr/>
                  <p:nvPr userDrawn="1"/>
                </p:nvSpPr>
                <p:spPr>
                  <a:xfrm>
                    <a:off x="11067727" y="3062926"/>
                    <a:ext cx="216024" cy="216024"/>
                  </a:xfrm>
                  <a:prstGeom prst="ellipse">
                    <a:avLst/>
                  </a:prstGeom>
                  <a:gradFill flip="none" rotWithShape="1">
                    <a:gsLst>
                      <a:gs pos="9000">
                        <a:srgbClr val="1D1D1B">
                          <a:lumMod val="25000"/>
                          <a:lumOff val="75000"/>
                        </a:srgbClr>
                      </a:gs>
                      <a:gs pos="100000">
                        <a:srgbClr val="1D1D1B">
                          <a:lumMod val="90000"/>
                          <a:lumOff val="10000"/>
                        </a:srgbClr>
                      </a:gs>
                    </a:gsLst>
                    <a:path path="circle">
                      <a:fillToRect l="100000" t="100000"/>
                    </a:path>
                    <a:tileRect r="-100000" b="-100000"/>
                  </a:gra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9" name="Ovaal 118"/>
                  <p:cNvSpPr/>
                  <p:nvPr userDrawn="1"/>
                </p:nvSpPr>
                <p:spPr>
                  <a:xfrm>
                    <a:off x="10953403" y="2892430"/>
                    <a:ext cx="170496" cy="170496"/>
                  </a:xfrm>
                  <a:prstGeom prst="ellipse">
                    <a:avLst/>
                  </a:prstGeom>
                  <a:gradFill>
                    <a:gsLst>
                      <a:gs pos="0">
                        <a:srgbClr val="1D1D1B">
                          <a:lumMod val="10000"/>
                          <a:lumOff val="90000"/>
                        </a:srgbClr>
                      </a:gs>
                      <a:gs pos="100000">
                        <a:srgbClr val="1D1D1B">
                          <a:lumMod val="25000"/>
                          <a:lumOff val="75000"/>
                        </a:srgbClr>
                      </a:gs>
                    </a:gsLst>
                    <a:path path="circle">
                      <a:fillToRect l="100000" t="100000"/>
                    </a:path>
                  </a:gradFill>
                  <a:ln w="25400" cap="flat" cmpd="sng" algn="ctr">
                    <a:solidFill>
                      <a:srgbClr val="FFFFFF">
                        <a:lumMod val="65000"/>
                        <a:alpha val="38000"/>
                      </a:srgbClr>
                    </a:solidFill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 Light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12" name="Rechthoek 10"/>
                <p:cNvSpPr/>
                <p:nvPr userDrawn="1"/>
              </p:nvSpPr>
              <p:spPr>
                <a:xfrm>
                  <a:off x="10510560" y="3140981"/>
                  <a:ext cx="939297" cy="408015"/>
                </a:xfrm>
                <a:custGeom>
                  <a:avLst/>
                  <a:gdLst>
                    <a:gd name="connsiteX0" fmla="*/ 0 w 1129820"/>
                    <a:gd name="connsiteY0" fmla="*/ 0 h 386313"/>
                    <a:gd name="connsiteX1" fmla="*/ 1129820 w 1129820"/>
                    <a:gd name="connsiteY1" fmla="*/ 0 h 386313"/>
                    <a:gd name="connsiteX2" fmla="*/ 1129820 w 1129820"/>
                    <a:gd name="connsiteY2" fmla="*/ 386313 h 386313"/>
                    <a:gd name="connsiteX3" fmla="*/ 0 w 1129820"/>
                    <a:gd name="connsiteY3" fmla="*/ 386313 h 386313"/>
                    <a:gd name="connsiteX4" fmla="*/ 0 w 1129820"/>
                    <a:gd name="connsiteY4" fmla="*/ 0 h 386313"/>
                    <a:gd name="connsiteX0" fmla="*/ 145473 w 1129820"/>
                    <a:gd name="connsiteY0" fmla="*/ 0 h 427876"/>
                    <a:gd name="connsiteX1" fmla="*/ 1129820 w 1129820"/>
                    <a:gd name="connsiteY1" fmla="*/ 41563 h 427876"/>
                    <a:gd name="connsiteX2" fmla="*/ 1129820 w 1129820"/>
                    <a:gd name="connsiteY2" fmla="*/ 427876 h 427876"/>
                    <a:gd name="connsiteX3" fmla="*/ 0 w 1129820"/>
                    <a:gd name="connsiteY3" fmla="*/ 427876 h 427876"/>
                    <a:gd name="connsiteX4" fmla="*/ 145473 w 1129820"/>
                    <a:gd name="connsiteY4" fmla="*/ 0 h 427876"/>
                    <a:gd name="connsiteX0" fmla="*/ 145473 w 1129820"/>
                    <a:gd name="connsiteY0" fmla="*/ 0 h 427876"/>
                    <a:gd name="connsiteX1" fmla="*/ 1129820 w 1129820"/>
                    <a:gd name="connsiteY1" fmla="*/ 41563 h 427876"/>
                    <a:gd name="connsiteX2" fmla="*/ 1129820 w 1129820"/>
                    <a:gd name="connsiteY2" fmla="*/ 427876 h 427876"/>
                    <a:gd name="connsiteX3" fmla="*/ 0 w 1129820"/>
                    <a:gd name="connsiteY3" fmla="*/ 427876 h 427876"/>
                    <a:gd name="connsiteX4" fmla="*/ 145473 w 1129820"/>
                    <a:gd name="connsiteY4" fmla="*/ 0 h 427876"/>
                    <a:gd name="connsiteX0" fmla="*/ 33864 w 1018211"/>
                    <a:gd name="connsiteY0" fmla="*/ 0 h 427876"/>
                    <a:gd name="connsiteX1" fmla="*/ 1018211 w 1018211"/>
                    <a:gd name="connsiteY1" fmla="*/ 41563 h 427876"/>
                    <a:gd name="connsiteX2" fmla="*/ 1018211 w 1018211"/>
                    <a:gd name="connsiteY2" fmla="*/ 427876 h 427876"/>
                    <a:gd name="connsiteX3" fmla="*/ 151628 w 1018211"/>
                    <a:gd name="connsiteY3" fmla="*/ 310112 h 427876"/>
                    <a:gd name="connsiteX4" fmla="*/ 33864 w 1018211"/>
                    <a:gd name="connsiteY4" fmla="*/ 0 h 427876"/>
                    <a:gd name="connsiteX0" fmla="*/ 100890 w 1085237"/>
                    <a:gd name="connsiteY0" fmla="*/ 0 h 427876"/>
                    <a:gd name="connsiteX1" fmla="*/ 1085237 w 1085237"/>
                    <a:gd name="connsiteY1" fmla="*/ 41563 h 427876"/>
                    <a:gd name="connsiteX2" fmla="*/ 1085237 w 1085237"/>
                    <a:gd name="connsiteY2" fmla="*/ 427876 h 427876"/>
                    <a:gd name="connsiteX3" fmla="*/ 218654 w 1085237"/>
                    <a:gd name="connsiteY3" fmla="*/ 310112 h 427876"/>
                    <a:gd name="connsiteX4" fmla="*/ 100890 w 1085237"/>
                    <a:gd name="connsiteY4" fmla="*/ 0 h 427876"/>
                    <a:gd name="connsiteX0" fmla="*/ 103919 w 1081338"/>
                    <a:gd name="connsiteY0" fmla="*/ 0 h 448658"/>
                    <a:gd name="connsiteX1" fmla="*/ 1081338 w 1081338"/>
                    <a:gd name="connsiteY1" fmla="*/ 62345 h 448658"/>
                    <a:gd name="connsiteX2" fmla="*/ 1081338 w 1081338"/>
                    <a:gd name="connsiteY2" fmla="*/ 448658 h 448658"/>
                    <a:gd name="connsiteX3" fmla="*/ 214755 w 1081338"/>
                    <a:gd name="connsiteY3" fmla="*/ 330894 h 448658"/>
                    <a:gd name="connsiteX4" fmla="*/ 103919 w 1081338"/>
                    <a:gd name="connsiteY4" fmla="*/ 0 h 448658"/>
                    <a:gd name="connsiteX0" fmla="*/ 123695 w 1101114"/>
                    <a:gd name="connsiteY0" fmla="*/ 0 h 448658"/>
                    <a:gd name="connsiteX1" fmla="*/ 1101114 w 1101114"/>
                    <a:gd name="connsiteY1" fmla="*/ 62345 h 448658"/>
                    <a:gd name="connsiteX2" fmla="*/ 1101114 w 1101114"/>
                    <a:gd name="connsiteY2" fmla="*/ 448658 h 448658"/>
                    <a:gd name="connsiteX3" fmla="*/ 234531 w 1101114"/>
                    <a:gd name="connsiteY3" fmla="*/ 330894 h 448658"/>
                    <a:gd name="connsiteX4" fmla="*/ 123695 w 1101114"/>
                    <a:gd name="connsiteY4" fmla="*/ 0 h 448658"/>
                    <a:gd name="connsiteX0" fmla="*/ 123695 w 1101114"/>
                    <a:gd name="connsiteY0" fmla="*/ 0 h 448658"/>
                    <a:gd name="connsiteX1" fmla="*/ 1101114 w 1101114"/>
                    <a:gd name="connsiteY1" fmla="*/ 62345 h 448658"/>
                    <a:gd name="connsiteX2" fmla="*/ 1101114 w 1101114"/>
                    <a:gd name="connsiteY2" fmla="*/ 448658 h 448658"/>
                    <a:gd name="connsiteX3" fmla="*/ 403939 w 1101114"/>
                    <a:gd name="connsiteY3" fmla="*/ 175382 h 448658"/>
                    <a:gd name="connsiteX4" fmla="*/ 234531 w 1101114"/>
                    <a:gd name="connsiteY4" fmla="*/ 330894 h 448658"/>
                    <a:gd name="connsiteX5" fmla="*/ 123695 w 1101114"/>
                    <a:gd name="connsiteY5" fmla="*/ 0 h 448658"/>
                    <a:gd name="connsiteX0" fmla="*/ 123695 w 1101114"/>
                    <a:gd name="connsiteY0" fmla="*/ 4727 h 453385"/>
                    <a:gd name="connsiteX1" fmla="*/ 1101114 w 1101114"/>
                    <a:gd name="connsiteY1" fmla="*/ 67072 h 453385"/>
                    <a:gd name="connsiteX2" fmla="*/ 1101114 w 1101114"/>
                    <a:gd name="connsiteY2" fmla="*/ 453385 h 453385"/>
                    <a:gd name="connsiteX3" fmla="*/ 577120 w 1101114"/>
                    <a:gd name="connsiteY3" fmla="*/ 0 h 453385"/>
                    <a:gd name="connsiteX4" fmla="*/ 234531 w 1101114"/>
                    <a:gd name="connsiteY4" fmla="*/ 335621 h 453385"/>
                    <a:gd name="connsiteX5" fmla="*/ 123695 w 1101114"/>
                    <a:gd name="connsiteY5" fmla="*/ 4727 h 453385"/>
                    <a:gd name="connsiteX0" fmla="*/ 123695 w 1101114"/>
                    <a:gd name="connsiteY0" fmla="*/ 4727 h 453385"/>
                    <a:gd name="connsiteX1" fmla="*/ 1101114 w 1101114"/>
                    <a:gd name="connsiteY1" fmla="*/ 67072 h 453385"/>
                    <a:gd name="connsiteX2" fmla="*/ 1101114 w 1101114"/>
                    <a:gd name="connsiteY2" fmla="*/ 453385 h 453385"/>
                    <a:gd name="connsiteX3" fmla="*/ 577120 w 1101114"/>
                    <a:gd name="connsiteY3" fmla="*/ 0 h 453385"/>
                    <a:gd name="connsiteX4" fmla="*/ 234531 w 1101114"/>
                    <a:gd name="connsiteY4" fmla="*/ 335621 h 453385"/>
                    <a:gd name="connsiteX5" fmla="*/ 123695 w 1101114"/>
                    <a:gd name="connsiteY5" fmla="*/ 4727 h 453385"/>
                    <a:gd name="connsiteX0" fmla="*/ 123695 w 1101114"/>
                    <a:gd name="connsiteY0" fmla="*/ 11654 h 460312"/>
                    <a:gd name="connsiteX1" fmla="*/ 1101114 w 1101114"/>
                    <a:gd name="connsiteY1" fmla="*/ 73999 h 460312"/>
                    <a:gd name="connsiteX2" fmla="*/ 1101114 w 1101114"/>
                    <a:gd name="connsiteY2" fmla="*/ 460312 h 460312"/>
                    <a:gd name="connsiteX3" fmla="*/ 604829 w 1101114"/>
                    <a:gd name="connsiteY3" fmla="*/ 0 h 460312"/>
                    <a:gd name="connsiteX4" fmla="*/ 234531 w 1101114"/>
                    <a:gd name="connsiteY4" fmla="*/ 342548 h 460312"/>
                    <a:gd name="connsiteX5" fmla="*/ 123695 w 1101114"/>
                    <a:gd name="connsiteY5" fmla="*/ 11654 h 460312"/>
                    <a:gd name="connsiteX0" fmla="*/ 123695 w 1101114"/>
                    <a:gd name="connsiteY0" fmla="*/ 11654 h 460312"/>
                    <a:gd name="connsiteX1" fmla="*/ 1101114 w 1101114"/>
                    <a:gd name="connsiteY1" fmla="*/ 73999 h 460312"/>
                    <a:gd name="connsiteX2" fmla="*/ 1101114 w 1101114"/>
                    <a:gd name="connsiteY2" fmla="*/ 460312 h 460312"/>
                    <a:gd name="connsiteX3" fmla="*/ 604829 w 1101114"/>
                    <a:gd name="connsiteY3" fmla="*/ 0 h 460312"/>
                    <a:gd name="connsiteX4" fmla="*/ 234531 w 1101114"/>
                    <a:gd name="connsiteY4" fmla="*/ 342548 h 460312"/>
                    <a:gd name="connsiteX5" fmla="*/ 123695 w 1101114"/>
                    <a:gd name="connsiteY5" fmla="*/ 11654 h 460312"/>
                    <a:gd name="connsiteX0" fmla="*/ 123695 w 1101114"/>
                    <a:gd name="connsiteY0" fmla="*/ 11654 h 460312"/>
                    <a:gd name="connsiteX1" fmla="*/ 1101114 w 1101114"/>
                    <a:gd name="connsiteY1" fmla="*/ 73999 h 460312"/>
                    <a:gd name="connsiteX2" fmla="*/ 1101114 w 1101114"/>
                    <a:gd name="connsiteY2" fmla="*/ 460312 h 460312"/>
                    <a:gd name="connsiteX3" fmla="*/ 604829 w 1101114"/>
                    <a:gd name="connsiteY3" fmla="*/ 0 h 460312"/>
                    <a:gd name="connsiteX4" fmla="*/ 234531 w 1101114"/>
                    <a:gd name="connsiteY4" fmla="*/ 342548 h 460312"/>
                    <a:gd name="connsiteX5" fmla="*/ 123695 w 1101114"/>
                    <a:gd name="connsiteY5" fmla="*/ 11654 h 460312"/>
                    <a:gd name="connsiteX0" fmla="*/ 98893 w 1076312"/>
                    <a:gd name="connsiteY0" fmla="*/ 11654 h 460312"/>
                    <a:gd name="connsiteX1" fmla="*/ 1076312 w 1076312"/>
                    <a:gd name="connsiteY1" fmla="*/ 73999 h 460312"/>
                    <a:gd name="connsiteX2" fmla="*/ 1076312 w 1076312"/>
                    <a:gd name="connsiteY2" fmla="*/ 460312 h 460312"/>
                    <a:gd name="connsiteX3" fmla="*/ 580027 w 1076312"/>
                    <a:gd name="connsiteY3" fmla="*/ 0 h 460312"/>
                    <a:gd name="connsiteX4" fmla="*/ 209729 w 1076312"/>
                    <a:gd name="connsiteY4" fmla="*/ 342548 h 460312"/>
                    <a:gd name="connsiteX5" fmla="*/ 98893 w 1076312"/>
                    <a:gd name="connsiteY5" fmla="*/ 11654 h 460312"/>
                    <a:gd name="connsiteX0" fmla="*/ 103531 w 1080950"/>
                    <a:gd name="connsiteY0" fmla="*/ 11654 h 460312"/>
                    <a:gd name="connsiteX1" fmla="*/ 1080950 w 1080950"/>
                    <a:gd name="connsiteY1" fmla="*/ 73999 h 460312"/>
                    <a:gd name="connsiteX2" fmla="*/ 1080950 w 1080950"/>
                    <a:gd name="connsiteY2" fmla="*/ 460312 h 460312"/>
                    <a:gd name="connsiteX3" fmla="*/ 584665 w 1080950"/>
                    <a:gd name="connsiteY3" fmla="*/ 0 h 460312"/>
                    <a:gd name="connsiteX4" fmla="*/ 200512 w 1080950"/>
                    <a:gd name="connsiteY4" fmla="*/ 342548 h 460312"/>
                    <a:gd name="connsiteX5" fmla="*/ 103531 w 1080950"/>
                    <a:gd name="connsiteY5" fmla="*/ 11654 h 460312"/>
                    <a:gd name="connsiteX0" fmla="*/ 103531 w 1080950"/>
                    <a:gd name="connsiteY0" fmla="*/ 11654 h 460312"/>
                    <a:gd name="connsiteX1" fmla="*/ 1080950 w 1080950"/>
                    <a:gd name="connsiteY1" fmla="*/ 73999 h 460312"/>
                    <a:gd name="connsiteX2" fmla="*/ 1080950 w 1080950"/>
                    <a:gd name="connsiteY2" fmla="*/ 460312 h 460312"/>
                    <a:gd name="connsiteX3" fmla="*/ 584665 w 1080950"/>
                    <a:gd name="connsiteY3" fmla="*/ 0 h 460312"/>
                    <a:gd name="connsiteX4" fmla="*/ 200512 w 1080950"/>
                    <a:gd name="connsiteY4" fmla="*/ 342548 h 460312"/>
                    <a:gd name="connsiteX5" fmla="*/ 103531 w 1080950"/>
                    <a:gd name="connsiteY5" fmla="*/ 11654 h 460312"/>
                    <a:gd name="connsiteX0" fmla="*/ 115967 w 1093386"/>
                    <a:gd name="connsiteY0" fmla="*/ 11654 h 460312"/>
                    <a:gd name="connsiteX1" fmla="*/ 1093386 w 1093386"/>
                    <a:gd name="connsiteY1" fmla="*/ 73999 h 460312"/>
                    <a:gd name="connsiteX2" fmla="*/ 1093386 w 1093386"/>
                    <a:gd name="connsiteY2" fmla="*/ 460312 h 460312"/>
                    <a:gd name="connsiteX3" fmla="*/ 597101 w 1093386"/>
                    <a:gd name="connsiteY3" fmla="*/ 0 h 460312"/>
                    <a:gd name="connsiteX4" fmla="*/ 212948 w 1093386"/>
                    <a:gd name="connsiteY4" fmla="*/ 342548 h 460312"/>
                    <a:gd name="connsiteX5" fmla="*/ 115967 w 1093386"/>
                    <a:gd name="connsiteY5" fmla="*/ 11654 h 460312"/>
                    <a:gd name="connsiteX0" fmla="*/ 115967 w 1093386"/>
                    <a:gd name="connsiteY0" fmla="*/ 11654 h 460312"/>
                    <a:gd name="connsiteX1" fmla="*/ 1093386 w 1093386"/>
                    <a:gd name="connsiteY1" fmla="*/ 73999 h 460312"/>
                    <a:gd name="connsiteX2" fmla="*/ 1093386 w 1093386"/>
                    <a:gd name="connsiteY2" fmla="*/ 460312 h 460312"/>
                    <a:gd name="connsiteX3" fmla="*/ 597101 w 1093386"/>
                    <a:gd name="connsiteY3" fmla="*/ 0 h 460312"/>
                    <a:gd name="connsiteX4" fmla="*/ 212948 w 1093386"/>
                    <a:gd name="connsiteY4" fmla="*/ 342548 h 460312"/>
                    <a:gd name="connsiteX5" fmla="*/ 115967 w 1093386"/>
                    <a:gd name="connsiteY5" fmla="*/ 11654 h 460312"/>
                    <a:gd name="connsiteX0" fmla="*/ 76283 w 1053702"/>
                    <a:gd name="connsiteY0" fmla="*/ 32436 h 481094"/>
                    <a:gd name="connsiteX1" fmla="*/ 1053702 w 1053702"/>
                    <a:gd name="connsiteY1" fmla="*/ 94781 h 481094"/>
                    <a:gd name="connsiteX2" fmla="*/ 1053702 w 1053702"/>
                    <a:gd name="connsiteY2" fmla="*/ 481094 h 481094"/>
                    <a:gd name="connsiteX3" fmla="*/ 640544 w 1053702"/>
                    <a:gd name="connsiteY3" fmla="*/ 0 h 481094"/>
                    <a:gd name="connsiteX4" fmla="*/ 173264 w 1053702"/>
                    <a:gd name="connsiteY4" fmla="*/ 363330 h 481094"/>
                    <a:gd name="connsiteX5" fmla="*/ 76283 w 1053702"/>
                    <a:gd name="connsiteY5" fmla="*/ 32436 h 481094"/>
                    <a:gd name="connsiteX0" fmla="*/ 108719 w 1086138"/>
                    <a:gd name="connsiteY0" fmla="*/ 32436 h 481094"/>
                    <a:gd name="connsiteX1" fmla="*/ 1086138 w 1086138"/>
                    <a:gd name="connsiteY1" fmla="*/ 94781 h 481094"/>
                    <a:gd name="connsiteX2" fmla="*/ 1086138 w 1086138"/>
                    <a:gd name="connsiteY2" fmla="*/ 481094 h 481094"/>
                    <a:gd name="connsiteX3" fmla="*/ 672980 w 1086138"/>
                    <a:gd name="connsiteY3" fmla="*/ 0 h 481094"/>
                    <a:gd name="connsiteX4" fmla="*/ 205700 w 1086138"/>
                    <a:gd name="connsiteY4" fmla="*/ 363330 h 481094"/>
                    <a:gd name="connsiteX5" fmla="*/ 108719 w 1086138"/>
                    <a:gd name="connsiteY5" fmla="*/ 32436 h 481094"/>
                    <a:gd name="connsiteX0" fmla="*/ 108719 w 1086138"/>
                    <a:gd name="connsiteY0" fmla="*/ 32436 h 481094"/>
                    <a:gd name="connsiteX1" fmla="*/ 1086138 w 1086138"/>
                    <a:gd name="connsiteY1" fmla="*/ 94781 h 481094"/>
                    <a:gd name="connsiteX2" fmla="*/ 1086138 w 1086138"/>
                    <a:gd name="connsiteY2" fmla="*/ 481094 h 481094"/>
                    <a:gd name="connsiteX3" fmla="*/ 672980 w 1086138"/>
                    <a:gd name="connsiteY3" fmla="*/ 0 h 481094"/>
                    <a:gd name="connsiteX4" fmla="*/ 205700 w 1086138"/>
                    <a:gd name="connsiteY4" fmla="*/ 363330 h 481094"/>
                    <a:gd name="connsiteX5" fmla="*/ 108719 w 1086138"/>
                    <a:gd name="connsiteY5" fmla="*/ 32436 h 481094"/>
                    <a:gd name="connsiteX0" fmla="*/ 108719 w 1210829"/>
                    <a:gd name="connsiteY0" fmla="*/ 32436 h 481094"/>
                    <a:gd name="connsiteX1" fmla="*/ 1210829 w 1210829"/>
                    <a:gd name="connsiteY1" fmla="*/ 351090 h 481094"/>
                    <a:gd name="connsiteX2" fmla="*/ 1086138 w 1210829"/>
                    <a:gd name="connsiteY2" fmla="*/ 481094 h 481094"/>
                    <a:gd name="connsiteX3" fmla="*/ 672980 w 1210829"/>
                    <a:gd name="connsiteY3" fmla="*/ 0 h 481094"/>
                    <a:gd name="connsiteX4" fmla="*/ 205700 w 1210829"/>
                    <a:gd name="connsiteY4" fmla="*/ 363330 h 481094"/>
                    <a:gd name="connsiteX5" fmla="*/ 108719 w 1210829"/>
                    <a:gd name="connsiteY5" fmla="*/ 32436 h 481094"/>
                    <a:gd name="connsiteX0" fmla="*/ 108719 w 1210829"/>
                    <a:gd name="connsiteY0" fmla="*/ 32436 h 367783"/>
                    <a:gd name="connsiteX1" fmla="*/ 1210829 w 1210829"/>
                    <a:gd name="connsiteY1" fmla="*/ 351090 h 367783"/>
                    <a:gd name="connsiteX2" fmla="*/ 996084 w 1210829"/>
                    <a:gd name="connsiteY2" fmla="*/ 30822 h 367783"/>
                    <a:gd name="connsiteX3" fmla="*/ 672980 w 1210829"/>
                    <a:gd name="connsiteY3" fmla="*/ 0 h 367783"/>
                    <a:gd name="connsiteX4" fmla="*/ 205700 w 1210829"/>
                    <a:gd name="connsiteY4" fmla="*/ 363330 h 367783"/>
                    <a:gd name="connsiteX5" fmla="*/ 108719 w 1210829"/>
                    <a:gd name="connsiteY5" fmla="*/ 32436 h 367783"/>
                    <a:gd name="connsiteX0" fmla="*/ 108719 w 996084"/>
                    <a:gd name="connsiteY0" fmla="*/ 32436 h 600471"/>
                    <a:gd name="connsiteX1" fmla="*/ 899101 w 996084"/>
                    <a:gd name="connsiteY1" fmla="*/ 600471 h 600471"/>
                    <a:gd name="connsiteX2" fmla="*/ 996084 w 996084"/>
                    <a:gd name="connsiteY2" fmla="*/ 30822 h 600471"/>
                    <a:gd name="connsiteX3" fmla="*/ 672980 w 996084"/>
                    <a:gd name="connsiteY3" fmla="*/ 0 h 600471"/>
                    <a:gd name="connsiteX4" fmla="*/ 205700 w 996084"/>
                    <a:gd name="connsiteY4" fmla="*/ 363330 h 600471"/>
                    <a:gd name="connsiteX5" fmla="*/ 108719 w 996084"/>
                    <a:gd name="connsiteY5" fmla="*/ 32436 h 600471"/>
                    <a:gd name="connsiteX0" fmla="*/ 108719 w 899101"/>
                    <a:gd name="connsiteY0" fmla="*/ 32436 h 600471"/>
                    <a:gd name="connsiteX1" fmla="*/ 899101 w 899101"/>
                    <a:gd name="connsiteY1" fmla="*/ 600471 h 600471"/>
                    <a:gd name="connsiteX2" fmla="*/ 767484 w 899101"/>
                    <a:gd name="connsiteY2" fmla="*/ 391040 h 600471"/>
                    <a:gd name="connsiteX3" fmla="*/ 672980 w 899101"/>
                    <a:gd name="connsiteY3" fmla="*/ 0 h 600471"/>
                    <a:gd name="connsiteX4" fmla="*/ 205700 w 899101"/>
                    <a:gd name="connsiteY4" fmla="*/ 363330 h 600471"/>
                    <a:gd name="connsiteX5" fmla="*/ 108719 w 899101"/>
                    <a:gd name="connsiteY5" fmla="*/ 32436 h 600471"/>
                    <a:gd name="connsiteX0" fmla="*/ 108719 w 923424"/>
                    <a:gd name="connsiteY0" fmla="*/ 32436 h 600471"/>
                    <a:gd name="connsiteX1" fmla="*/ 899101 w 923424"/>
                    <a:gd name="connsiteY1" fmla="*/ 600471 h 600471"/>
                    <a:gd name="connsiteX2" fmla="*/ 767484 w 923424"/>
                    <a:gd name="connsiteY2" fmla="*/ 391040 h 600471"/>
                    <a:gd name="connsiteX3" fmla="*/ 672980 w 923424"/>
                    <a:gd name="connsiteY3" fmla="*/ 0 h 600471"/>
                    <a:gd name="connsiteX4" fmla="*/ 205700 w 923424"/>
                    <a:gd name="connsiteY4" fmla="*/ 363330 h 600471"/>
                    <a:gd name="connsiteX5" fmla="*/ 108719 w 923424"/>
                    <a:gd name="connsiteY5" fmla="*/ 32436 h 600471"/>
                    <a:gd name="connsiteX0" fmla="*/ 108719 w 925266"/>
                    <a:gd name="connsiteY0" fmla="*/ 34821 h 602856"/>
                    <a:gd name="connsiteX1" fmla="*/ 899101 w 925266"/>
                    <a:gd name="connsiteY1" fmla="*/ 602856 h 602856"/>
                    <a:gd name="connsiteX2" fmla="*/ 767484 w 925266"/>
                    <a:gd name="connsiteY2" fmla="*/ 393425 h 602856"/>
                    <a:gd name="connsiteX3" fmla="*/ 672980 w 925266"/>
                    <a:gd name="connsiteY3" fmla="*/ 2385 h 602856"/>
                    <a:gd name="connsiteX4" fmla="*/ 205700 w 925266"/>
                    <a:gd name="connsiteY4" fmla="*/ 365715 h 602856"/>
                    <a:gd name="connsiteX5" fmla="*/ 108719 w 925266"/>
                    <a:gd name="connsiteY5" fmla="*/ 34821 h 602856"/>
                    <a:gd name="connsiteX0" fmla="*/ 108719 w 934847"/>
                    <a:gd name="connsiteY0" fmla="*/ 32442 h 600477"/>
                    <a:gd name="connsiteX1" fmla="*/ 899101 w 934847"/>
                    <a:gd name="connsiteY1" fmla="*/ 600477 h 600477"/>
                    <a:gd name="connsiteX2" fmla="*/ 767484 w 934847"/>
                    <a:gd name="connsiteY2" fmla="*/ 391046 h 600477"/>
                    <a:gd name="connsiteX3" fmla="*/ 672980 w 934847"/>
                    <a:gd name="connsiteY3" fmla="*/ 6 h 600477"/>
                    <a:gd name="connsiteX4" fmla="*/ 205700 w 934847"/>
                    <a:gd name="connsiteY4" fmla="*/ 363336 h 600477"/>
                    <a:gd name="connsiteX5" fmla="*/ 108719 w 934847"/>
                    <a:gd name="connsiteY5" fmla="*/ 32442 h 600477"/>
                    <a:gd name="connsiteX0" fmla="*/ 108719 w 922877"/>
                    <a:gd name="connsiteY0" fmla="*/ 32442 h 600477"/>
                    <a:gd name="connsiteX1" fmla="*/ 899101 w 922877"/>
                    <a:gd name="connsiteY1" fmla="*/ 600477 h 600477"/>
                    <a:gd name="connsiteX2" fmla="*/ 767484 w 922877"/>
                    <a:gd name="connsiteY2" fmla="*/ 391046 h 600477"/>
                    <a:gd name="connsiteX3" fmla="*/ 672980 w 922877"/>
                    <a:gd name="connsiteY3" fmla="*/ 6 h 600477"/>
                    <a:gd name="connsiteX4" fmla="*/ 205700 w 922877"/>
                    <a:gd name="connsiteY4" fmla="*/ 363336 h 600477"/>
                    <a:gd name="connsiteX5" fmla="*/ 108719 w 922877"/>
                    <a:gd name="connsiteY5" fmla="*/ 32442 h 600477"/>
                    <a:gd name="connsiteX0" fmla="*/ 108719 w 940851"/>
                    <a:gd name="connsiteY0" fmla="*/ 32442 h 600477"/>
                    <a:gd name="connsiteX1" fmla="*/ 899101 w 940851"/>
                    <a:gd name="connsiteY1" fmla="*/ 600477 h 600477"/>
                    <a:gd name="connsiteX2" fmla="*/ 767484 w 940851"/>
                    <a:gd name="connsiteY2" fmla="*/ 391046 h 600477"/>
                    <a:gd name="connsiteX3" fmla="*/ 672980 w 940851"/>
                    <a:gd name="connsiteY3" fmla="*/ 6 h 600477"/>
                    <a:gd name="connsiteX4" fmla="*/ 205700 w 940851"/>
                    <a:gd name="connsiteY4" fmla="*/ 363336 h 600477"/>
                    <a:gd name="connsiteX5" fmla="*/ 108719 w 940851"/>
                    <a:gd name="connsiteY5" fmla="*/ 32442 h 600477"/>
                    <a:gd name="connsiteX0" fmla="*/ 108719 w 942823"/>
                    <a:gd name="connsiteY0" fmla="*/ 35699 h 603734"/>
                    <a:gd name="connsiteX1" fmla="*/ 899101 w 942823"/>
                    <a:gd name="connsiteY1" fmla="*/ 603734 h 603734"/>
                    <a:gd name="connsiteX2" fmla="*/ 767484 w 942823"/>
                    <a:gd name="connsiteY2" fmla="*/ 394303 h 603734"/>
                    <a:gd name="connsiteX3" fmla="*/ 672980 w 942823"/>
                    <a:gd name="connsiteY3" fmla="*/ 3263 h 603734"/>
                    <a:gd name="connsiteX4" fmla="*/ 205700 w 942823"/>
                    <a:gd name="connsiteY4" fmla="*/ 366593 h 603734"/>
                    <a:gd name="connsiteX5" fmla="*/ 108719 w 942823"/>
                    <a:gd name="connsiteY5" fmla="*/ 35699 h 603734"/>
                    <a:gd name="connsiteX0" fmla="*/ 108719 w 942823"/>
                    <a:gd name="connsiteY0" fmla="*/ 35699 h 603734"/>
                    <a:gd name="connsiteX1" fmla="*/ 899101 w 942823"/>
                    <a:gd name="connsiteY1" fmla="*/ 603734 h 603734"/>
                    <a:gd name="connsiteX2" fmla="*/ 767484 w 942823"/>
                    <a:gd name="connsiteY2" fmla="*/ 394303 h 603734"/>
                    <a:gd name="connsiteX3" fmla="*/ 672980 w 942823"/>
                    <a:gd name="connsiteY3" fmla="*/ 3263 h 603734"/>
                    <a:gd name="connsiteX4" fmla="*/ 205700 w 942823"/>
                    <a:gd name="connsiteY4" fmla="*/ 366593 h 603734"/>
                    <a:gd name="connsiteX5" fmla="*/ 108719 w 942823"/>
                    <a:gd name="connsiteY5" fmla="*/ 35699 h 603734"/>
                    <a:gd name="connsiteX0" fmla="*/ 108719 w 942823"/>
                    <a:gd name="connsiteY0" fmla="*/ 35699 h 394303"/>
                    <a:gd name="connsiteX1" fmla="*/ 635865 w 942823"/>
                    <a:gd name="connsiteY1" fmla="*/ 354352 h 394303"/>
                    <a:gd name="connsiteX2" fmla="*/ 767484 w 942823"/>
                    <a:gd name="connsiteY2" fmla="*/ 394303 h 394303"/>
                    <a:gd name="connsiteX3" fmla="*/ 672980 w 942823"/>
                    <a:gd name="connsiteY3" fmla="*/ 3263 h 394303"/>
                    <a:gd name="connsiteX4" fmla="*/ 205700 w 942823"/>
                    <a:gd name="connsiteY4" fmla="*/ 366593 h 394303"/>
                    <a:gd name="connsiteX5" fmla="*/ 108719 w 942823"/>
                    <a:gd name="connsiteY5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714545 w 942823"/>
                    <a:gd name="connsiteY1" fmla="*/ 30975 h 394303"/>
                    <a:gd name="connsiteX2" fmla="*/ 635865 w 942823"/>
                    <a:gd name="connsiteY2" fmla="*/ 354352 h 394303"/>
                    <a:gd name="connsiteX3" fmla="*/ 767484 w 942823"/>
                    <a:gd name="connsiteY3" fmla="*/ 394303 h 394303"/>
                    <a:gd name="connsiteX4" fmla="*/ 672980 w 942823"/>
                    <a:gd name="connsiteY4" fmla="*/ 3263 h 394303"/>
                    <a:gd name="connsiteX5" fmla="*/ 205700 w 942823"/>
                    <a:gd name="connsiteY5" fmla="*/ 366593 h 394303"/>
                    <a:gd name="connsiteX6" fmla="*/ 108719 w 942823"/>
                    <a:gd name="connsiteY6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108719 w 942823"/>
                    <a:gd name="connsiteY0" fmla="*/ 35699 h 394303"/>
                    <a:gd name="connsiteX1" fmla="*/ 243490 w 942823"/>
                    <a:gd name="connsiteY1" fmla="*/ 391193 h 394303"/>
                    <a:gd name="connsiteX2" fmla="*/ 714545 w 942823"/>
                    <a:gd name="connsiteY2" fmla="*/ 30975 h 394303"/>
                    <a:gd name="connsiteX3" fmla="*/ 635865 w 942823"/>
                    <a:gd name="connsiteY3" fmla="*/ 354352 h 394303"/>
                    <a:gd name="connsiteX4" fmla="*/ 767484 w 942823"/>
                    <a:gd name="connsiteY4" fmla="*/ 394303 h 394303"/>
                    <a:gd name="connsiteX5" fmla="*/ 672980 w 942823"/>
                    <a:gd name="connsiteY5" fmla="*/ 3263 h 394303"/>
                    <a:gd name="connsiteX6" fmla="*/ 205700 w 942823"/>
                    <a:gd name="connsiteY6" fmla="*/ 366593 h 394303"/>
                    <a:gd name="connsiteX7" fmla="*/ 108719 w 942823"/>
                    <a:gd name="connsiteY7" fmla="*/ 35699 h 394303"/>
                    <a:gd name="connsiteX0" fmla="*/ 99206 w 933310"/>
                    <a:gd name="connsiteY0" fmla="*/ 35699 h 394303"/>
                    <a:gd name="connsiteX1" fmla="*/ 233977 w 933310"/>
                    <a:gd name="connsiteY1" fmla="*/ 391193 h 394303"/>
                    <a:gd name="connsiteX2" fmla="*/ 705032 w 933310"/>
                    <a:gd name="connsiteY2" fmla="*/ 30975 h 394303"/>
                    <a:gd name="connsiteX3" fmla="*/ 626352 w 933310"/>
                    <a:gd name="connsiteY3" fmla="*/ 354352 h 394303"/>
                    <a:gd name="connsiteX4" fmla="*/ 757971 w 933310"/>
                    <a:gd name="connsiteY4" fmla="*/ 394303 h 394303"/>
                    <a:gd name="connsiteX5" fmla="*/ 663467 w 933310"/>
                    <a:gd name="connsiteY5" fmla="*/ 3263 h 394303"/>
                    <a:gd name="connsiteX6" fmla="*/ 223896 w 933310"/>
                    <a:gd name="connsiteY6" fmla="*/ 338883 h 394303"/>
                    <a:gd name="connsiteX7" fmla="*/ 99206 w 933310"/>
                    <a:gd name="connsiteY7" fmla="*/ 35699 h 394303"/>
                    <a:gd name="connsiteX0" fmla="*/ 111296 w 945400"/>
                    <a:gd name="connsiteY0" fmla="*/ 35699 h 394303"/>
                    <a:gd name="connsiteX1" fmla="*/ 246067 w 945400"/>
                    <a:gd name="connsiteY1" fmla="*/ 391193 h 394303"/>
                    <a:gd name="connsiteX2" fmla="*/ 717122 w 945400"/>
                    <a:gd name="connsiteY2" fmla="*/ 30975 h 394303"/>
                    <a:gd name="connsiteX3" fmla="*/ 638442 w 945400"/>
                    <a:gd name="connsiteY3" fmla="*/ 354352 h 394303"/>
                    <a:gd name="connsiteX4" fmla="*/ 770061 w 945400"/>
                    <a:gd name="connsiteY4" fmla="*/ 394303 h 394303"/>
                    <a:gd name="connsiteX5" fmla="*/ 675557 w 945400"/>
                    <a:gd name="connsiteY5" fmla="*/ 3263 h 394303"/>
                    <a:gd name="connsiteX6" fmla="*/ 201349 w 945400"/>
                    <a:gd name="connsiteY6" fmla="*/ 380446 h 394303"/>
                    <a:gd name="connsiteX7" fmla="*/ 111296 w 945400"/>
                    <a:gd name="connsiteY7" fmla="*/ 35699 h 394303"/>
                    <a:gd name="connsiteX0" fmla="*/ 111296 w 945400"/>
                    <a:gd name="connsiteY0" fmla="*/ 35699 h 394303"/>
                    <a:gd name="connsiteX1" fmla="*/ 232213 w 945400"/>
                    <a:gd name="connsiteY1" fmla="*/ 328847 h 394303"/>
                    <a:gd name="connsiteX2" fmla="*/ 717122 w 945400"/>
                    <a:gd name="connsiteY2" fmla="*/ 30975 h 394303"/>
                    <a:gd name="connsiteX3" fmla="*/ 638442 w 945400"/>
                    <a:gd name="connsiteY3" fmla="*/ 354352 h 394303"/>
                    <a:gd name="connsiteX4" fmla="*/ 770061 w 945400"/>
                    <a:gd name="connsiteY4" fmla="*/ 394303 h 394303"/>
                    <a:gd name="connsiteX5" fmla="*/ 675557 w 945400"/>
                    <a:gd name="connsiteY5" fmla="*/ 3263 h 394303"/>
                    <a:gd name="connsiteX6" fmla="*/ 201349 w 945400"/>
                    <a:gd name="connsiteY6" fmla="*/ 380446 h 394303"/>
                    <a:gd name="connsiteX7" fmla="*/ 111296 w 945400"/>
                    <a:gd name="connsiteY7" fmla="*/ 35699 h 394303"/>
                    <a:gd name="connsiteX0" fmla="*/ 111296 w 945400"/>
                    <a:gd name="connsiteY0" fmla="*/ 35699 h 394303"/>
                    <a:gd name="connsiteX1" fmla="*/ 232213 w 945400"/>
                    <a:gd name="connsiteY1" fmla="*/ 328847 h 394303"/>
                    <a:gd name="connsiteX2" fmla="*/ 717122 w 945400"/>
                    <a:gd name="connsiteY2" fmla="*/ 30975 h 394303"/>
                    <a:gd name="connsiteX3" fmla="*/ 638442 w 945400"/>
                    <a:gd name="connsiteY3" fmla="*/ 354352 h 394303"/>
                    <a:gd name="connsiteX4" fmla="*/ 770061 w 945400"/>
                    <a:gd name="connsiteY4" fmla="*/ 394303 h 394303"/>
                    <a:gd name="connsiteX5" fmla="*/ 675557 w 945400"/>
                    <a:gd name="connsiteY5" fmla="*/ 3263 h 394303"/>
                    <a:gd name="connsiteX6" fmla="*/ 201349 w 945400"/>
                    <a:gd name="connsiteY6" fmla="*/ 380446 h 394303"/>
                    <a:gd name="connsiteX7" fmla="*/ 111296 w 945400"/>
                    <a:gd name="connsiteY7" fmla="*/ 35699 h 394303"/>
                    <a:gd name="connsiteX0" fmla="*/ 94898 w 929002"/>
                    <a:gd name="connsiteY0" fmla="*/ 35699 h 394303"/>
                    <a:gd name="connsiteX1" fmla="*/ 215815 w 929002"/>
                    <a:gd name="connsiteY1" fmla="*/ 328847 h 394303"/>
                    <a:gd name="connsiteX2" fmla="*/ 700724 w 929002"/>
                    <a:gd name="connsiteY2" fmla="*/ 30975 h 394303"/>
                    <a:gd name="connsiteX3" fmla="*/ 622044 w 929002"/>
                    <a:gd name="connsiteY3" fmla="*/ 354352 h 394303"/>
                    <a:gd name="connsiteX4" fmla="*/ 753663 w 929002"/>
                    <a:gd name="connsiteY4" fmla="*/ 394303 h 394303"/>
                    <a:gd name="connsiteX5" fmla="*/ 659159 w 929002"/>
                    <a:gd name="connsiteY5" fmla="*/ 3263 h 394303"/>
                    <a:gd name="connsiteX6" fmla="*/ 233442 w 929002"/>
                    <a:gd name="connsiteY6" fmla="*/ 380446 h 394303"/>
                    <a:gd name="connsiteX7" fmla="*/ 94898 w 929002"/>
                    <a:gd name="connsiteY7" fmla="*/ 35699 h 394303"/>
                    <a:gd name="connsiteX0" fmla="*/ 98467 w 932571"/>
                    <a:gd name="connsiteY0" fmla="*/ 35699 h 394303"/>
                    <a:gd name="connsiteX1" fmla="*/ 219384 w 932571"/>
                    <a:gd name="connsiteY1" fmla="*/ 328847 h 394303"/>
                    <a:gd name="connsiteX2" fmla="*/ 704293 w 932571"/>
                    <a:gd name="connsiteY2" fmla="*/ 30975 h 394303"/>
                    <a:gd name="connsiteX3" fmla="*/ 625613 w 932571"/>
                    <a:gd name="connsiteY3" fmla="*/ 354352 h 394303"/>
                    <a:gd name="connsiteX4" fmla="*/ 757232 w 932571"/>
                    <a:gd name="connsiteY4" fmla="*/ 394303 h 394303"/>
                    <a:gd name="connsiteX5" fmla="*/ 662728 w 932571"/>
                    <a:gd name="connsiteY5" fmla="*/ 3263 h 394303"/>
                    <a:gd name="connsiteX6" fmla="*/ 237011 w 932571"/>
                    <a:gd name="connsiteY6" fmla="*/ 380446 h 394303"/>
                    <a:gd name="connsiteX7" fmla="*/ 98467 w 932571"/>
                    <a:gd name="connsiteY7" fmla="*/ 35699 h 394303"/>
                    <a:gd name="connsiteX0" fmla="*/ 105342 w 939446"/>
                    <a:gd name="connsiteY0" fmla="*/ 35699 h 394303"/>
                    <a:gd name="connsiteX1" fmla="*/ 226259 w 939446"/>
                    <a:gd name="connsiteY1" fmla="*/ 328847 h 394303"/>
                    <a:gd name="connsiteX2" fmla="*/ 711168 w 939446"/>
                    <a:gd name="connsiteY2" fmla="*/ 30975 h 394303"/>
                    <a:gd name="connsiteX3" fmla="*/ 632488 w 939446"/>
                    <a:gd name="connsiteY3" fmla="*/ 354352 h 394303"/>
                    <a:gd name="connsiteX4" fmla="*/ 764107 w 939446"/>
                    <a:gd name="connsiteY4" fmla="*/ 394303 h 394303"/>
                    <a:gd name="connsiteX5" fmla="*/ 669603 w 939446"/>
                    <a:gd name="connsiteY5" fmla="*/ 3263 h 394303"/>
                    <a:gd name="connsiteX6" fmla="*/ 223105 w 939446"/>
                    <a:gd name="connsiteY6" fmla="*/ 352737 h 394303"/>
                    <a:gd name="connsiteX7" fmla="*/ 105342 w 939446"/>
                    <a:gd name="connsiteY7" fmla="*/ 35699 h 394303"/>
                    <a:gd name="connsiteX0" fmla="*/ 105342 w 939446"/>
                    <a:gd name="connsiteY0" fmla="*/ 35699 h 403258"/>
                    <a:gd name="connsiteX1" fmla="*/ 198550 w 939446"/>
                    <a:gd name="connsiteY1" fmla="*/ 363484 h 403258"/>
                    <a:gd name="connsiteX2" fmla="*/ 711168 w 939446"/>
                    <a:gd name="connsiteY2" fmla="*/ 30975 h 403258"/>
                    <a:gd name="connsiteX3" fmla="*/ 632488 w 939446"/>
                    <a:gd name="connsiteY3" fmla="*/ 354352 h 403258"/>
                    <a:gd name="connsiteX4" fmla="*/ 764107 w 939446"/>
                    <a:gd name="connsiteY4" fmla="*/ 394303 h 403258"/>
                    <a:gd name="connsiteX5" fmla="*/ 669603 w 939446"/>
                    <a:gd name="connsiteY5" fmla="*/ 3263 h 403258"/>
                    <a:gd name="connsiteX6" fmla="*/ 223105 w 939446"/>
                    <a:gd name="connsiteY6" fmla="*/ 352737 h 403258"/>
                    <a:gd name="connsiteX7" fmla="*/ 105342 w 939446"/>
                    <a:gd name="connsiteY7" fmla="*/ 35699 h 403258"/>
                    <a:gd name="connsiteX0" fmla="*/ 105342 w 939446"/>
                    <a:gd name="connsiteY0" fmla="*/ 35699 h 394303"/>
                    <a:gd name="connsiteX1" fmla="*/ 198550 w 939446"/>
                    <a:gd name="connsiteY1" fmla="*/ 363484 h 394303"/>
                    <a:gd name="connsiteX2" fmla="*/ 711168 w 939446"/>
                    <a:gd name="connsiteY2" fmla="*/ 30975 h 394303"/>
                    <a:gd name="connsiteX3" fmla="*/ 632488 w 939446"/>
                    <a:gd name="connsiteY3" fmla="*/ 354352 h 394303"/>
                    <a:gd name="connsiteX4" fmla="*/ 764107 w 939446"/>
                    <a:gd name="connsiteY4" fmla="*/ 394303 h 394303"/>
                    <a:gd name="connsiteX5" fmla="*/ 669603 w 939446"/>
                    <a:gd name="connsiteY5" fmla="*/ 3263 h 394303"/>
                    <a:gd name="connsiteX6" fmla="*/ 223105 w 939446"/>
                    <a:gd name="connsiteY6" fmla="*/ 352737 h 394303"/>
                    <a:gd name="connsiteX7" fmla="*/ 105342 w 939446"/>
                    <a:gd name="connsiteY7" fmla="*/ 35699 h 394303"/>
                    <a:gd name="connsiteX0" fmla="*/ 105342 w 939446"/>
                    <a:gd name="connsiteY0" fmla="*/ 35699 h 394303"/>
                    <a:gd name="connsiteX1" fmla="*/ 198550 w 939446"/>
                    <a:gd name="connsiteY1" fmla="*/ 363484 h 394303"/>
                    <a:gd name="connsiteX2" fmla="*/ 711168 w 939446"/>
                    <a:gd name="connsiteY2" fmla="*/ 30975 h 394303"/>
                    <a:gd name="connsiteX3" fmla="*/ 632488 w 939446"/>
                    <a:gd name="connsiteY3" fmla="*/ 354352 h 394303"/>
                    <a:gd name="connsiteX4" fmla="*/ 764107 w 939446"/>
                    <a:gd name="connsiteY4" fmla="*/ 394303 h 394303"/>
                    <a:gd name="connsiteX5" fmla="*/ 669603 w 939446"/>
                    <a:gd name="connsiteY5" fmla="*/ 3263 h 394303"/>
                    <a:gd name="connsiteX6" fmla="*/ 223105 w 939446"/>
                    <a:gd name="connsiteY6" fmla="*/ 352737 h 394303"/>
                    <a:gd name="connsiteX7" fmla="*/ 105342 w 939446"/>
                    <a:gd name="connsiteY7" fmla="*/ 35699 h 394303"/>
                    <a:gd name="connsiteX0" fmla="*/ 105342 w 939446"/>
                    <a:gd name="connsiteY0" fmla="*/ 35699 h 394303"/>
                    <a:gd name="connsiteX1" fmla="*/ 170841 w 939446"/>
                    <a:gd name="connsiteY1" fmla="*/ 37902 h 394303"/>
                    <a:gd name="connsiteX2" fmla="*/ 198550 w 939446"/>
                    <a:gd name="connsiteY2" fmla="*/ 363484 h 394303"/>
                    <a:gd name="connsiteX3" fmla="*/ 711168 w 939446"/>
                    <a:gd name="connsiteY3" fmla="*/ 30975 h 394303"/>
                    <a:gd name="connsiteX4" fmla="*/ 632488 w 939446"/>
                    <a:gd name="connsiteY4" fmla="*/ 354352 h 394303"/>
                    <a:gd name="connsiteX5" fmla="*/ 764107 w 939446"/>
                    <a:gd name="connsiteY5" fmla="*/ 394303 h 394303"/>
                    <a:gd name="connsiteX6" fmla="*/ 669603 w 939446"/>
                    <a:gd name="connsiteY6" fmla="*/ 3263 h 394303"/>
                    <a:gd name="connsiteX7" fmla="*/ 223105 w 939446"/>
                    <a:gd name="connsiteY7" fmla="*/ 352737 h 394303"/>
                    <a:gd name="connsiteX8" fmla="*/ 105342 w 939446"/>
                    <a:gd name="connsiteY8" fmla="*/ 35699 h 394303"/>
                    <a:gd name="connsiteX0" fmla="*/ 105342 w 939446"/>
                    <a:gd name="connsiteY0" fmla="*/ 35699 h 394303"/>
                    <a:gd name="connsiteX1" fmla="*/ 170841 w 939446"/>
                    <a:gd name="connsiteY1" fmla="*/ 37902 h 394303"/>
                    <a:gd name="connsiteX2" fmla="*/ 198550 w 939446"/>
                    <a:gd name="connsiteY2" fmla="*/ 363484 h 394303"/>
                    <a:gd name="connsiteX3" fmla="*/ 711168 w 939446"/>
                    <a:gd name="connsiteY3" fmla="*/ 30975 h 394303"/>
                    <a:gd name="connsiteX4" fmla="*/ 632488 w 939446"/>
                    <a:gd name="connsiteY4" fmla="*/ 354352 h 394303"/>
                    <a:gd name="connsiteX5" fmla="*/ 764107 w 939446"/>
                    <a:gd name="connsiteY5" fmla="*/ 394303 h 394303"/>
                    <a:gd name="connsiteX6" fmla="*/ 669603 w 939446"/>
                    <a:gd name="connsiteY6" fmla="*/ 3263 h 394303"/>
                    <a:gd name="connsiteX7" fmla="*/ 223105 w 939446"/>
                    <a:gd name="connsiteY7" fmla="*/ 352737 h 394303"/>
                    <a:gd name="connsiteX8" fmla="*/ 105342 w 939446"/>
                    <a:gd name="connsiteY8" fmla="*/ 35699 h 394303"/>
                    <a:gd name="connsiteX0" fmla="*/ 105342 w 939446"/>
                    <a:gd name="connsiteY0" fmla="*/ 35699 h 394303"/>
                    <a:gd name="connsiteX1" fmla="*/ 170841 w 939446"/>
                    <a:gd name="connsiteY1" fmla="*/ 37902 h 394303"/>
                    <a:gd name="connsiteX2" fmla="*/ 198550 w 939446"/>
                    <a:gd name="connsiteY2" fmla="*/ 363484 h 394303"/>
                    <a:gd name="connsiteX3" fmla="*/ 711168 w 939446"/>
                    <a:gd name="connsiteY3" fmla="*/ 30975 h 394303"/>
                    <a:gd name="connsiteX4" fmla="*/ 632488 w 939446"/>
                    <a:gd name="connsiteY4" fmla="*/ 354352 h 394303"/>
                    <a:gd name="connsiteX5" fmla="*/ 764107 w 939446"/>
                    <a:gd name="connsiteY5" fmla="*/ 394303 h 394303"/>
                    <a:gd name="connsiteX6" fmla="*/ 669603 w 939446"/>
                    <a:gd name="connsiteY6" fmla="*/ 3263 h 394303"/>
                    <a:gd name="connsiteX7" fmla="*/ 223105 w 939446"/>
                    <a:gd name="connsiteY7" fmla="*/ 352737 h 394303"/>
                    <a:gd name="connsiteX8" fmla="*/ 105342 w 939446"/>
                    <a:gd name="connsiteY8" fmla="*/ 35699 h 394303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198550 w 930539"/>
                    <a:gd name="connsiteY2" fmla="*/ 363341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52594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18314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52594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18314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181232 w 930539"/>
                    <a:gd name="connsiteY2" fmla="*/ 352951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70269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70269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70269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05342 w 930539"/>
                    <a:gd name="connsiteY0" fmla="*/ 35556 h 408015"/>
                    <a:gd name="connsiteX1" fmla="*/ 170841 w 930539"/>
                    <a:gd name="connsiteY1" fmla="*/ 37759 h 408015"/>
                    <a:gd name="connsiteX2" fmla="*/ 229723 w 930539"/>
                    <a:gd name="connsiteY2" fmla="*/ 370269 h 408015"/>
                    <a:gd name="connsiteX3" fmla="*/ 711168 w 930539"/>
                    <a:gd name="connsiteY3" fmla="*/ 30832 h 408015"/>
                    <a:gd name="connsiteX4" fmla="*/ 632488 w 930539"/>
                    <a:gd name="connsiteY4" fmla="*/ 354209 h 408015"/>
                    <a:gd name="connsiteX5" fmla="*/ 750253 w 930539"/>
                    <a:gd name="connsiteY5" fmla="*/ 408015 h 408015"/>
                    <a:gd name="connsiteX6" fmla="*/ 669603 w 930539"/>
                    <a:gd name="connsiteY6" fmla="*/ 3120 h 408015"/>
                    <a:gd name="connsiteX7" fmla="*/ 223105 w 930539"/>
                    <a:gd name="connsiteY7" fmla="*/ 345666 h 408015"/>
                    <a:gd name="connsiteX8" fmla="*/ 105342 w 930539"/>
                    <a:gd name="connsiteY8" fmla="*/ 35556 h 408015"/>
                    <a:gd name="connsiteX0" fmla="*/ 111595 w 936792"/>
                    <a:gd name="connsiteY0" fmla="*/ 35556 h 408015"/>
                    <a:gd name="connsiteX1" fmla="*/ 177094 w 936792"/>
                    <a:gd name="connsiteY1" fmla="*/ 37759 h 408015"/>
                    <a:gd name="connsiteX2" fmla="*/ 235976 w 936792"/>
                    <a:gd name="connsiteY2" fmla="*/ 370269 h 408015"/>
                    <a:gd name="connsiteX3" fmla="*/ 717421 w 936792"/>
                    <a:gd name="connsiteY3" fmla="*/ 30832 h 408015"/>
                    <a:gd name="connsiteX4" fmla="*/ 638741 w 936792"/>
                    <a:gd name="connsiteY4" fmla="*/ 354209 h 408015"/>
                    <a:gd name="connsiteX5" fmla="*/ 756506 w 936792"/>
                    <a:gd name="connsiteY5" fmla="*/ 408015 h 408015"/>
                    <a:gd name="connsiteX6" fmla="*/ 675856 w 936792"/>
                    <a:gd name="connsiteY6" fmla="*/ 3120 h 408015"/>
                    <a:gd name="connsiteX7" fmla="*/ 212040 w 936792"/>
                    <a:gd name="connsiteY7" fmla="*/ 373375 h 408015"/>
                    <a:gd name="connsiteX8" fmla="*/ 111595 w 936792"/>
                    <a:gd name="connsiteY8" fmla="*/ 35556 h 408015"/>
                    <a:gd name="connsiteX0" fmla="*/ 104452 w 929649"/>
                    <a:gd name="connsiteY0" fmla="*/ 35556 h 408015"/>
                    <a:gd name="connsiteX1" fmla="*/ 169951 w 929649"/>
                    <a:gd name="connsiteY1" fmla="*/ 37759 h 408015"/>
                    <a:gd name="connsiteX2" fmla="*/ 228833 w 929649"/>
                    <a:gd name="connsiteY2" fmla="*/ 370269 h 408015"/>
                    <a:gd name="connsiteX3" fmla="*/ 710278 w 929649"/>
                    <a:gd name="connsiteY3" fmla="*/ 30832 h 408015"/>
                    <a:gd name="connsiteX4" fmla="*/ 631598 w 929649"/>
                    <a:gd name="connsiteY4" fmla="*/ 354209 h 408015"/>
                    <a:gd name="connsiteX5" fmla="*/ 749363 w 929649"/>
                    <a:gd name="connsiteY5" fmla="*/ 408015 h 408015"/>
                    <a:gd name="connsiteX6" fmla="*/ 668713 w 929649"/>
                    <a:gd name="connsiteY6" fmla="*/ 3120 h 408015"/>
                    <a:gd name="connsiteX7" fmla="*/ 204897 w 929649"/>
                    <a:gd name="connsiteY7" fmla="*/ 373375 h 408015"/>
                    <a:gd name="connsiteX8" fmla="*/ 104452 w 929649"/>
                    <a:gd name="connsiteY8" fmla="*/ 35556 h 408015"/>
                    <a:gd name="connsiteX0" fmla="*/ 110549 w 935746"/>
                    <a:gd name="connsiteY0" fmla="*/ 35556 h 408015"/>
                    <a:gd name="connsiteX1" fmla="*/ 176048 w 935746"/>
                    <a:gd name="connsiteY1" fmla="*/ 37759 h 408015"/>
                    <a:gd name="connsiteX2" fmla="*/ 234930 w 935746"/>
                    <a:gd name="connsiteY2" fmla="*/ 370269 h 408015"/>
                    <a:gd name="connsiteX3" fmla="*/ 716375 w 935746"/>
                    <a:gd name="connsiteY3" fmla="*/ 3083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76048 w 935746"/>
                    <a:gd name="connsiteY1" fmla="*/ 37759 h 408015"/>
                    <a:gd name="connsiteX2" fmla="*/ 234930 w 935746"/>
                    <a:gd name="connsiteY2" fmla="*/ 370269 h 408015"/>
                    <a:gd name="connsiteX3" fmla="*/ 716375 w 935746"/>
                    <a:gd name="connsiteY3" fmla="*/ 3083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76048 w 935746"/>
                    <a:gd name="connsiteY1" fmla="*/ 37759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48339 w 935746"/>
                    <a:gd name="connsiteY1" fmla="*/ 65468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110549 w 935746"/>
                    <a:gd name="connsiteY0" fmla="*/ 35556 h 408015"/>
                    <a:gd name="connsiteX1" fmla="*/ 131020 w 935746"/>
                    <a:gd name="connsiteY1" fmla="*/ 79322 h 408015"/>
                    <a:gd name="connsiteX2" fmla="*/ 234930 w 935746"/>
                    <a:gd name="connsiteY2" fmla="*/ 370269 h 408015"/>
                    <a:gd name="connsiteX3" fmla="*/ 719839 w 935746"/>
                    <a:gd name="connsiteY3" fmla="*/ 3122 h 408015"/>
                    <a:gd name="connsiteX4" fmla="*/ 637695 w 935746"/>
                    <a:gd name="connsiteY4" fmla="*/ 354209 h 408015"/>
                    <a:gd name="connsiteX5" fmla="*/ 755460 w 935746"/>
                    <a:gd name="connsiteY5" fmla="*/ 408015 h 408015"/>
                    <a:gd name="connsiteX6" fmla="*/ 674810 w 935746"/>
                    <a:gd name="connsiteY6" fmla="*/ 3120 h 408015"/>
                    <a:gd name="connsiteX7" fmla="*/ 210994 w 935746"/>
                    <a:gd name="connsiteY7" fmla="*/ 373375 h 408015"/>
                    <a:gd name="connsiteX8" fmla="*/ 110549 w 935746"/>
                    <a:gd name="connsiteY8" fmla="*/ 35556 h 408015"/>
                    <a:gd name="connsiteX0" fmla="*/ 72992 w 912044"/>
                    <a:gd name="connsiteY0" fmla="*/ 35556 h 408015"/>
                    <a:gd name="connsiteX1" fmla="*/ 107318 w 912044"/>
                    <a:gd name="connsiteY1" fmla="*/ 79322 h 408015"/>
                    <a:gd name="connsiteX2" fmla="*/ 211228 w 912044"/>
                    <a:gd name="connsiteY2" fmla="*/ 370269 h 408015"/>
                    <a:gd name="connsiteX3" fmla="*/ 696137 w 912044"/>
                    <a:gd name="connsiteY3" fmla="*/ 3122 h 408015"/>
                    <a:gd name="connsiteX4" fmla="*/ 613993 w 912044"/>
                    <a:gd name="connsiteY4" fmla="*/ 354209 h 408015"/>
                    <a:gd name="connsiteX5" fmla="*/ 731758 w 912044"/>
                    <a:gd name="connsiteY5" fmla="*/ 408015 h 408015"/>
                    <a:gd name="connsiteX6" fmla="*/ 651108 w 912044"/>
                    <a:gd name="connsiteY6" fmla="*/ 3120 h 408015"/>
                    <a:gd name="connsiteX7" fmla="*/ 187292 w 912044"/>
                    <a:gd name="connsiteY7" fmla="*/ 373375 h 408015"/>
                    <a:gd name="connsiteX8" fmla="*/ 72992 w 912044"/>
                    <a:gd name="connsiteY8" fmla="*/ 35556 h 408015"/>
                    <a:gd name="connsiteX0" fmla="*/ 95861 w 934913"/>
                    <a:gd name="connsiteY0" fmla="*/ 35556 h 408015"/>
                    <a:gd name="connsiteX1" fmla="*/ 130187 w 934913"/>
                    <a:gd name="connsiteY1" fmla="*/ 79322 h 408015"/>
                    <a:gd name="connsiteX2" fmla="*/ 234097 w 934913"/>
                    <a:gd name="connsiteY2" fmla="*/ 370269 h 408015"/>
                    <a:gd name="connsiteX3" fmla="*/ 719006 w 934913"/>
                    <a:gd name="connsiteY3" fmla="*/ 3122 h 408015"/>
                    <a:gd name="connsiteX4" fmla="*/ 636862 w 934913"/>
                    <a:gd name="connsiteY4" fmla="*/ 354209 h 408015"/>
                    <a:gd name="connsiteX5" fmla="*/ 754627 w 934913"/>
                    <a:gd name="connsiteY5" fmla="*/ 408015 h 408015"/>
                    <a:gd name="connsiteX6" fmla="*/ 673977 w 934913"/>
                    <a:gd name="connsiteY6" fmla="*/ 3120 h 408015"/>
                    <a:gd name="connsiteX7" fmla="*/ 210161 w 934913"/>
                    <a:gd name="connsiteY7" fmla="*/ 373375 h 408015"/>
                    <a:gd name="connsiteX8" fmla="*/ 95861 w 934913"/>
                    <a:gd name="connsiteY8" fmla="*/ 35556 h 408015"/>
                    <a:gd name="connsiteX0" fmla="*/ 128786 w 967838"/>
                    <a:gd name="connsiteY0" fmla="*/ 35556 h 408015"/>
                    <a:gd name="connsiteX1" fmla="*/ 163112 w 967838"/>
                    <a:gd name="connsiteY1" fmla="*/ 79322 h 408015"/>
                    <a:gd name="connsiteX2" fmla="*/ 267022 w 967838"/>
                    <a:gd name="connsiteY2" fmla="*/ 370269 h 408015"/>
                    <a:gd name="connsiteX3" fmla="*/ 751931 w 967838"/>
                    <a:gd name="connsiteY3" fmla="*/ 3122 h 408015"/>
                    <a:gd name="connsiteX4" fmla="*/ 669787 w 967838"/>
                    <a:gd name="connsiteY4" fmla="*/ 354209 h 408015"/>
                    <a:gd name="connsiteX5" fmla="*/ 787552 w 967838"/>
                    <a:gd name="connsiteY5" fmla="*/ 408015 h 408015"/>
                    <a:gd name="connsiteX6" fmla="*/ 706902 w 967838"/>
                    <a:gd name="connsiteY6" fmla="*/ 3120 h 408015"/>
                    <a:gd name="connsiteX7" fmla="*/ 243086 w 967838"/>
                    <a:gd name="connsiteY7" fmla="*/ 373375 h 408015"/>
                    <a:gd name="connsiteX8" fmla="*/ 128786 w 967838"/>
                    <a:gd name="connsiteY8" fmla="*/ 35556 h 408015"/>
                    <a:gd name="connsiteX0" fmla="*/ 100245 w 939297"/>
                    <a:gd name="connsiteY0" fmla="*/ 35556 h 408015"/>
                    <a:gd name="connsiteX1" fmla="*/ 134571 w 939297"/>
                    <a:gd name="connsiteY1" fmla="*/ 79322 h 408015"/>
                    <a:gd name="connsiteX2" fmla="*/ 238481 w 939297"/>
                    <a:gd name="connsiteY2" fmla="*/ 370269 h 408015"/>
                    <a:gd name="connsiteX3" fmla="*/ 723390 w 939297"/>
                    <a:gd name="connsiteY3" fmla="*/ 3122 h 408015"/>
                    <a:gd name="connsiteX4" fmla="*/ 641246 w 939297"/>
                    <a:gd name="connsiteY4" fmla="*/ 354209 h 408015"/>
                    <a:gd name="connsiteX5" fmla="*/ 759011 w 939297"/>
                    <a:gd name="connsiteY5" fmla="*/ 408015 h 408015"/>
                    <a:gd name="connsiteX6" fmla="*/ 678361 w 939297"/>
                    <a:gd name="connsiteY6" fmla="*/ 3120 h 408015"/>
                    <a:gd name="connsiteX7" fmla="*/ 214545 w 939297"/>
                    <a:gd name="connsiteY7" fmla="*/ 373375 h 408015"/>
                    <a:gd name="connsiteX8" fmla="*/ 100245 w 939297"/>
                    <a:gd name="connsiteY8" fmla="*/ 35556 h 408015"/>
                    <a:gd name="connsiteX0" fmla="*/ 100245 w 939297"/>
                    <a:gd name="connsiteY0" fmla="*/ 35556 h 408015"/>
                    <a:gd name="connsiteX1" fmla="*/ 106862 w 939297"/>
                    <a:gd name="connsiteY1" fmla="*/ 51613 h 408015"/>
                    <a:gd name="connsiteX2" fmla="*/ 238481 w 939297"/>
                    <a:gd name="connsiteY2" fmla="*/ 370269 h 408015"/>
                    <a:gd name="connsiteX3" fmla="*/ 723390 w 939297"/>
                    <a:gd name="connsiteY3" fmla="*/ 3122 h 408015"/>
                    <a:gd name="connsiteX4" fmla="*/ 641246 w 939297"/>
                    <a:gd name="connsiteY4" fmla="*/ 354209 h 408015"/>
                    <a:gd name="connsiteX5" fmla="*/ 759011 w 939297"/>
                    <a:gd name="connsiteY5" fmla="*/ 408015 h 408015"/>
                    <a:gd name="connsiteX6" fmla="*/ 678361 w 939297"/>
                    <a:gd name="connsiteY6" fmla="*/ 3120 h 408015"/>
                    <a:gd name="connsiteX7" fmla="*/ 214545 w 939297"/>
                    <a:gd name="connsiteY7" fmla="*/ 373375 h 408015"/>
                    <a:gd name="connsiteX8" fmla="*/ 100245 w 939297"/>
                    <a:gd name="connsiteY8" fmla="*/ 35556 h 408015"/>
                    <a:gd name="connsiteX0" fmla="*/ 100245 w 939297"/>
                    <a:gd name="connsiteY0" fmla="*/ 35556 h 408015"/>
                    <a:gd name="connsiteX1" fmla="*/ 106862 w 939297"/>
                    <a:gd name="connsiteY1" fmla="*/ 51613 h 408015"/>
                    <a:gd name="connsiteX2" fmla="*/ 238481 w 939297"/>
                    <a:gd name="connsiteY2" fmla="*/ 370269 h 408015"/>
                    <a:gd name="connsiteX3" fmla="*/ 723390 w 939297"/>
                    <a:gd name="connsiteY3" fmla="*/ 3122 h 408015"/>
                    <a:gd name="connsiteX4" fmla="*/ 641246 w 939297"/>
                    <a:gd name="connsiteY4" fmla="*/ 354209 h 408015"/>
                    <a:gd name="connsiteX5" fmla="*/ 759011 w 939297"/>
                    <a:gd name="connsiteY5" fmla="*/ 408015 h 408015"/>
                    <a:gd name="connsiteX6" fmla="*/ 678361 w 939297"/>
                    <a:gd name="connsiteY6" fmla="*/ 3120 h 408015"/>
                    <a:gd name="connsiteX7" fmla="*/ 214545 w 939297"/>
                    <a:gd name="connsiteY7" fmla="*/ 373375 h 408015"/>
                    <a:gd name="connsiteX8" fmla="*/ 100245 w 939297"/>
                    <a:gd name="connsiteY8" fmla="*/ 35556 h 408015"/>
                    <a:gd name="connsiteX0" fmla="*/ 100245 w 939297"/>
                    <a:gd name="connsiteY0" fmla="*/ 35556 h 408015"/>
                    <a:gd name="connsiteX1" fmla="*/ 106862 w 939297"/>
                    <a:gd name="connsiteY1" fmla="*/ 51613 h 408015"/>
                    <a:gd name="connsiteX2" fmla="*/ 238481 w 939297"/>
                    <a:gd name="connsiteY2" fmla="*/ 370269 h 408015"/>
                    <a:gd name="connsiteX3" fmla="*/ 723390 w 939297"/>
                    <a:gd name="connsiteY3" fmla="*/ 3122 h 408015"/>
                    <a:gd name="connsiteX4" fmla="*/ 641246 w 939297"/>
                    <a:gd name="connsiteY4" fmla="*/ 354209 h 408015"/>
                    <a:gd name="connsiteX5" fmla="*/ 759011 w 939297"/>
                    <a:gd name="connsiteY5" fmla="*/ 408015 h 408015"/>
                    <a:gd name="connsiteX6" fmla="*/ 678361 w 939297"/>
                    <a:gd name="connsiteY6" fmla="*/ 3120 h 408015"/>
                    <a:gd name="connsiteX7" fmla="*/ 214545 w 939297"/>
                    <a:gd name="connsiteY7" fmla="*/ 373375 h 408015"/>
                    <a:gd name="connsiteX8" fmla="*/ 100245 w 939297"/>
                    <a:gd name="connsiteY8" fmla="*/ 35556 h 408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39297" h="408015">
                      <a:moveTo>
                        <a:pt x="100245" y="35556"/>
                      </a:moveTo>
                      <a:cubicBezTo>
                        <a:pt x="114625" y="43120"/>
                        <a:pt x="70545" y="31618"/>
                        <a:pt x="106862" y="51613"/>
                      </a:cubicBezTo>
                      <a:cubicBezTo>
                        <a:pt x="-33466" y="158199"/>
                        <a:pt x="88391" y="327552"/>
                        <a:pt x="238481" y="370269"/>
                      </a:cubicBezTo>
                      <a:cubicBezTo>
                        <a:pt x="557663" y="393728"/>
                        <a:pt x="507902" y="68144"/>
                        <a:pt x="723390" y="3122"/>
                      </a:cubicBezTo>
                      <a:cubicBezTo>
                        <a:pt x="925763" y="76277"/>
                        <a:pt x="764454" y="315691"/>
                        <a:pt x="641246" y="354209"/>
                      </a:cubicBezTo>
                      <a:lnTo>
                        <a:pt x="759011" y="408015"/>
                      </a:lnTo>
                      <a:cubicBezTo>
                        <a:pt x="1071565" y="249959"/>
                        <a:pt x="933843" y="-32788"/>
                        <a:pt x="678361" y="3120"/>
                      </a:cubicBezTo>
                      <a:cubicBezTo>
                        <a:pt x="352883" y="45721"/>
                        <a:pt x="452907" y="357578"/>
                        <a:pt x="214545" y="373375"/>
                      </a:cubicBezTo>
                      <a:cubicBezTo>
                        <a:pt x="-23817" y="389172"/>
                        <a:pt x="-66009" y="91589"/>
                        <a:pt x="100245" y="35556"/>
                      </a:cubicBez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70C0"/>
                    </a:gs>
                    <a:gs pos="9000">
                      <a:srgbClr val="29C7FF"/>
                    </a:gs>
                    <a:gs pos="51000">
                      <a:srgbClr val="33CAFF"/>
                    </a:gs>
                    <a:gs pos="32000">
                      <a:srgbClr val="0070C0"/>
                    </a:gs>
                    <a:gs pos="97000">
                      <a:srgbClr val="005EA4"/>
                    </a:gs>
                    <a:gs pos="89000">
                      <a:srgbClr val="0070C0"/>
                    </a:gs>
                  </a:gsLst>
                  <a:lin ang="0" scaled="1"/>
                  <a:tileRect/>
                </a:gradFill>
                <a:ln w="6350" cap="flat" cmpd="sng" algn="ctr">
                  <a:solidFill>
                    <a:srgbClr val="1C2638">
                      <a:lumMod val="75000"/>
                      <a:lumOff val="25000"/>
                      <a:alpha val="77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Ovaal 112"/>
                <p:cNvSpPr/>
                <p:nvPr userDrawn="1"/>
              </p:nvSpPr>
              <p:spPr>
                <a:xfrm flipV="1">
                  <a:off x="11012327" y="2951356"/>
                  <a:ext cx="45720" cy="45720"/>
                </a:xfrm>
                <a:prstGeom prst="ellipse">
                  <a:avLst/>
                </a:prstGeom>
                <a:solidFill>
                  <a:srgbClr val="1D1D1B">
                    <a:lumMod val="50000"/>
                    <a:lumOff val="50000"/>
                    <a:alpha val="99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88" name="bijsnijden"/>
            <p:cNvGrpSpPr/>
            <p:nvPr userDrawn="1"/>
          </p:nvGrpSpPr>
          <p:grpSpPr>
            <a:xfrm>
              <a:off x="12727582" y="5853402"/>
              <a:ext cx="779464" cy="828260"/>
              <a:chOff x="13143038" y="5655940"/>
              <a:chExt cx="779464" cy="828260"/>
            </a:xfrm>
          </p:grpSpPr>
          <p:grpSp>
            <p:nvGrpSpPr>
              <p:cNvPr id="89" name="Groep 88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92" name="Rechthoek 91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93" name="Afbeelding 92"/>
                <p:cNvPicPr>
                  <a:picLocks noChangeAspect="1"/>
                </p:cNvPicPr>
                <p:nvPr userDrawn="1"/>
              </p:nvPicPr>
              <p:blipFill rotWithShape="1"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94" name="L-vorm 93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95" name="L-vorm 94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90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91" name="Rechthoekige driehoek 90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801DE668-5F81-9E92-E610-5E18724F93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5656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Publiek</a:t>
            </a:r>
            <a:r>
              <a:rPr lang="en-GB" dirty="0"/>
              <a:t> 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Tabel (100%)</a:t>
            </a:r>
            <a:endParaRPr lang="nl-NL" dirty="0"/>
          </a:p>
        </p:txBody>
      </p:sp>
      <p:sp>
        <p:nvSpPr>
          <p:cNvPr id="86" name="Tijdelijke aanduiding voor tabel 13"/>
          <p:cNvSpPr>
            <a:spLocks noGrp="1"/>
          </p:cNvSpPr>
          <p:nvPr>
            <p:ph type="tbl" sz="quarter" idx="15"/>
          </p:nvPr>
        </p:nvSpPr>
        <p:spPr>
          <a:xfrm>
            <a:off x="458926" y="1092201"/>
            <a:ext cx="112752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nl-NL"/>
              <a:t>Klik op het pictogram als u een tabel wilt toevoegen</a:t>
            </a:r>
          </a:p>
        </p:txBody>
      </p:sp>
      <p:grpSp>
        <p:nvGrpSpPr>
          <p:cNvPr id="87" name="Groep 86"/>
          <p:cNvGrpSpPr/>
          <p:nvPr userDrawn="1"/>
        </p:nvGrpSpPr>
        <p:grpSpPr>
          <a:xfrm>
            <a:off x="12850330" y="21157"/>
            <a:ext cx="2609094" cy="4339920"/>
            <a:chOff x="12470972" y="-5444"/>
            <a:chExt cx="2609094" cy="4339920"/>
          </a:xfrm>
        </p:grpSpPr>
        <p:grpSp>
          <p:nvGrpSpPr>
            <p:cNvPr id="88" name="Groep 87"/>
            <p:cNvGrpSpPr/>
            <p:nvPr/>
          </p:nvGrpSpPr>
          <p:grpSpPr>
            <a:xfrm>
              <a:off x="12478620" y="1489205"/>
              <a:ext cx="615489" cy="522454"/>
              <a:chOff x="3793456" y="3603"/>
              <a:chExt cx="4527394" cy="473968"/>
            </a:xfrm>
          </p:grpSpPr>
          <p:grpSp>
            <p:nvGrpSpPr>
              <p:cNvPr id="102" name="Group 4"/>
              <p:cNvGrpSpPr>
                <a:grpSpLocks noChangeAspect="1"/>
              </p:cNvGrpSpPr>
              <p:nvPr userDrawn="1"/>
            </p:nvGrpSpPr>
            <p:grpSpPr bwMode="auto">
              <a:xfrm>
                <a:off x="3793456" y="3603"/>
                <a:ext cx="4526989" cy="473968"/>
                <a:chOff x="1782" y="145"/>
                <a:chExt cx="2674" cy="2270"/>
              </a:xfrm>
            </p:grpSpPr>
            <p:sp>
              <p:nvSpPr>
                <p:cNvPr id="109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807" y="145"/>
                  <a:ext cx="2649" cy="2270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rgbClr val="96969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  <p:sp>
              <p:nvSpPr>
                <p:cNvPr id="110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799" y="145"/>
                  <a:ext cx="2657" cy="439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9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  <p:sp>
              <p:nvSpPr>
                <p:cNvPr id="111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782" y="1469"/>
                  <a:ext cx="2655" cy="29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</p:grpSp>
          <p:cxnSp>
            <p:nvCxnSpPr>
              <p:cNvPr id="103" name="Rechte verbindingslijn 102"/>
              <p:cNvCxnSpPr/>
              <p:nvPr userDrawn="1"/>
            </p:nvCxnSpPr>
            <p:spPr>
              <a:xfrm flipH="1">
                <a:off x="6086136" y="96647"/>
                <a:ext cx="6024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Rechte verbindingslijn 103"/>
              <p:cNvCxnSpPr/>
              <p:nvPr userDrawn="1"/>
            </p:nvCxnSpPr>
            <p:spPr>
              <a:xfrm>
                <a:off x="7281567" y="96647"/>
                <a:ext cx="0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Rechte verbindingslijn 104"/>
              <p:cNvCxnSpPr/>
              <p:nvPr userDrawn="1"/>
            </p:nvCxnSpPr>
            <p:spPr>
              <a:xfrm>
                <a:off x="4905299" y="96186"/>
                <a:ext cx="0" cy="377505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Rechte verbindingslijn 105"/>
              <p:cNvCxnSpPr/>
              <p:nvPr userDrawn="1"/>
            </p:nvCxnSpPr>
            <p:spPr>
              <a:xfrm flipH="1">
                <a:off x="3836186" y="181242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Rechte verbindingslijn 106"/>
              <p:cNvCxnSpPr/>
              <p:nvPr userDrawn="1"/>
            </p:nvCxnSpPr>
            <p:spPr>
              <a:xfrm flipH="1">
                <a:off x="3836186" y="280466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Rechte verbindingslijn 107"/>
              <p:cNvCxnSpPr/>
              <p:nvPr userDrawn="1"/>
            </p:nvCxnSpPr>
            <p:spPr>
              <a:xfrm flipH="1">
                <a:off x="3836186" y="392407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9" name="Rechthoek 88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TABEL INVOEGEN</a:t>
              </a:r>
            </a:p>
          </p:txBody>
        </p:sp>
        <p:sp>
          <p:nvSpPr>
            <p:cNvPr id="90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Klik op het icoon om een tabel </a:t>
              </a:r>
              <a:b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 te voegen</a:t>
              </a:r>
            </a:p>
          </p:txBody>
        </p:sp>
        <p:sp>
          <p:nvSpPr>
            <p:cNvPr id="91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het aantal rijen en kolommen en klik op </a:t>
              </a:r>
              <a:r>
                <a:rPr lang="nl-NL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OK’</a:t>
              </a:r>
            </a:p>
          </p:txBody>
        </p:sp>
        <p:sp>
          <p:nvSpPr>
            <p:cNvPr id="92" name="Ovaal 91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3" name="Ovaal 92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94" name="Rechte verbindingslijn 93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5" name="Rechte verbindingslijn 94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6" name="Rechte verbindingslijn 95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7" name="Groep 96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98" name="Afgeronde rechthoek 97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/>
              </a:p>
            </p:txBody>
          </p:sp>
          <p:sp>
            <p:nvSpPr>
              <p:cNvPr id="99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/>
                  <a:t>OK</a:t>
                </a:r>
              </a:p>
            </p:txBody>
          </p:sp>
          <p:cxnSp>
            <p:nvCxnSpPr>
              <p:cNvPr id="100" name="Rechte verbindingslijn 99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Gelijkbenige driehoek 100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/>
              </a:p>
            </p:txBody>
          </p:sp>
        </p:grpSp>
      </p:grp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FF499544-3EA7-8889-3129-148D004D7B5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2114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Publiek</a:t>
            </a:r>
            <a:r>
              <a:rPr lang="en-GB" dirty="0"/>
              <a:t> 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Grafiek (100%)</a:t>
            </a:r>
            <a:endParaRPr lang="nl-NL" dirty="0"/>
          </a:p>
        </p:txBody>
      </p:sp>
      <p:sp>
        <p:nvSpPr>
          <p:cNvPr id="85" name="Tijdelijke aanduiding voor grafiek 13"/>
          <p:cNvSpPr>
            <a:spLocks noGrp="1"/>
          </p:cNvSpPr>
          <p:nvPr>
            <p:ph type="chart" sz="quarter" idx="16"/>
          </p:nvPr>
        </p:nvSpPr>
        <p:spPr>
          <a:xfrm>
            <a:off x="458926" y="1092201"/>
            <a:ext cx="11275200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nl-NL"/>
              <a:t>Klik op het pictogram als u een grafiek wilt toevoegen</a:t>
            </a:r>
          </a:p>
        </p:txBody>
      </p:sp>
      <p:grpSp>
        <p:nvGrpSpPr>
          <p:cNvPr id="87" name="Groep 86"/>
          <p:cNvGrpSpPr/>
          <p:nvPr userDrawn="1"/>
        </p:nvGrpSpPr>
        <p:grpSpPr>
          <a:xfrm>
            <a:off x="12764736" y="19956"/>
            <a:ext cx="2697278" cy="6868888"/>
            <a:chOff x="12382788" y="-5444"/>
            <a:chExt cx="2697278" cy="6868888"/>
          </a:xfrm>
        </p:grpSpPr>
        <p:grpSp>
          <p:nvGrpSpPr>
            <p:cNvPr id="88" name="Groep 87"/>
            <p:cNvGrpSpPr/>
            <p:nvPr/>
          </p:nvGrpSpPr>
          <p:grpSpPr>
            <a:xfrm>
              <a:off x="12382788" y="1480224"/>
              <a:ext cx="689983" cy="573048"/>
              <a:chOff x="15171969" y="1587338"/>
              <a:chExt cx="755407" cy="627385"/>
            </a:xfrm>
          </p:grpSpPr>
          <p:sp>
            <p:nvSpPr>
              <p:cNvPr id="142" name="Rechthoek 962"/>
              <p:cNvSpPr/>
              <p:nvPr userDrawn="1"/>
            </p:nvSpPr>
            <p:spPr>
              <a:xfrm>
                <a:off x="15171969" y="2008934"/>
                <a:ext cx="755407" cy="205789"/>
              </a:xfrm>
              <a:custGeom>
                <a:avLst/>
                <a:gdLst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664132 w 664132"/>
                  <a:gd name="connsiteY2" fmla="*/ 27778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664132"/>
                  <a:gd name="connsiteY0" fmla="*/ 0 h 290487"/>
                  <a:gd name="connsiteX1" fmla="*/ 664132 w 664132"/>
                  <a:gd name="connsiteY1" fmla="*/ 0 h 290487"/>
                  <a:gd name="connsiteX2" fmla="*/ 333932 w 664132"/>
                  <a:gd name="connsiteY2" fmla="*/ 290487 h 290487"/>
                  <a:gd name="connsiteX3" fmla="*/ 0 w 664132"/>
                  <a:gd name="connsiteY3" fmla="*/ 277787 h 290487"/>
                  <a:gd name="connsiteX4" fmla="*/ 0 w 664132"/>
                  <a:gd name="connsiteY4" fmla="*/ 0 h 290487"/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575232 w 664132"/>
                  <a:gd name="connsiteY2" fmla="*/ 27143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708582"/>
                  <a:gd name="connsiteY0" fmla="*/ 0 h 277787"/>
                  <a:gd name="connsiteX1" fmla="*/ 708582 w 708582"/>
                  <a:gd name="connsiteY1" fmla="*/ 31750 h 277787"/>
                  <a:gd name="connsiteX2" fmla="*/ 575232 w 708582"/>
                  <a:gd name="connsiteY2" fmla="*/ 271437 h 277787"/>
                  <a:gd name="connsiteX3" fmla="*/ 0 w 708582"/>
                  <a:gd name="connsiteY3" fmla="*/ 277787 h 277787"/>
                  <a:gd name="connsiteX4" fmla="*/ 0 w 708582"/>
                  <a:gd name="connsiteY4" fmla="*/ 0 h 277787"/>
                  <a:gd name="connsiteX0" fmla="*/ 228600 w 708582"/>
                  <a:gd name="connsiteY0" fmla="*/ 6350 h 246037"/>
                  <a:gd name="connsiteX1" fmla="*/ 708582 w 708582"/>
                  <a:gd name="connsiteY1" fmla="*/ 0 h 246037"/>
                  <a:gd name="connsiteX2" fmla="*/ 575232 w 708582"/>
                  <a:gd name="connsiteY2" fmla="*/ 239687 h 246037"/>
                  <a:gd name="connsiteX3" fmla="*/ 0 w 708582"/>
                  <a:gd name="connsiteY3" fmla="*/ 246037 h 246037"/>
                  <a:gd name="connsiteX4" fmla="*/ 228600 w 708582"/>
                  <a:gd name="connsiteY4" fmla="*/ 6350 h 246037"/>
                  <a:gd name="connsiteX0" fmla="*/ 228600 w 778432"/>
                  <a:gd name="connsiteY0" fmla="*/ 0 h 239687"/>
                  <a:gd name="connsiteX1" fmla="*/ 778432 w 778432"/>
                  <a:gd name="connsiteY1" fmla="*/ 25400 h 239687"/>
                  <a:gd name="connsiteX2" fmla="*/ 575232 w 778432"/>
                  <a:gd name="connsiteY2" fmla="*/ 233337 h 239687"/>
                  <a:gd name="connsiteX3" fmla="*/ 0 w 778432"/>
                  <a:gd name="connsiteY3" fmla="*/ 239687 h 239687"/>
                  <a:gd name="connsiteX4" fmla="*/ 228600 w 778432"/>
                  <a:gd name="connsiteY4" fmla="*/ 0 h 239687"/>
                  <a:gd name="connsiteX0" fmla="*/ 228600 w 778432"/>
                  <a:gd name="connsiteY0" fmla="*/ 0 h 214287"/>
                  <a:gd name="connsiteX1" fmla="*/ 778432 w 778432"/>
                  <a:gd name="connsiteY1" fmla="*/ 0 h 214287"/>
                  <a:gd name="connsiteX2" fmla="*/ 575232 w 778432"/>
                  <a:gd name="connsiteY2" fmla="*/ 207937 h 214287"/>
                  <a:gd name="connsiteX3" fmla="*/ 0 w 778432"/>
                  <a:gd name="connsiteY3" fmla="*/ 214287 h 214287"/>
                  <a:gd name="connsiteX4" fmla="*/ 228600 w 778432"/>
                  <a:gd name="connsiteY4" fmla="*/ 0 h 214287"/>
                  <a:gd name="connsiteX0" fmla="*/ 228600 w 730724"/>
                  <a:gd name="connsiteY0" fmla="*/ 3975 h 218262"/>
                  <a:gd name="connsiteX1" fmla="*/ 730724 w 730724"/>
                  <a:gd name="connsiteY1" fmla="*/ 0 h 218262"/>
                  <a:gd name="connsiteX2" fmla="*/ 575232 w 730724"/>
                  <a:gd name="connsiteY2" fmla="*/ 211912 h 218262"/>
                  <a:gd name="connsiteX3" fmla="*/ 0 w 730724"/>
                  <a:gd name="connsiteY3" fmla="*/ 218262 h 218262"/>
                  <a:gd name="connsiteX4" fmla="*/ 228600 w 730724"/>
                  <a:gd name="connsiteY4" fmla="*/ 3975 h 218262"/>
                  <a:gd name="connsiteX0" fmla="*/ 252454 w 754578"/>
                  <a:gd name="connsiteY0" fmla="*/ 3975 h 211912"/>
                  <a:gd name="connsiteX1" fmla="*/ 754578 w 754578"/>
                  <a:gd name="connsiteY1" fmla="*/ 0 h 211912"/>
                  <a:gd name="connsiteX2" fmla="*/ 599086 w 754578"/>
                  <a:gd name="connsiteY2" fmla="*/ 211912 h 211912"/>
                  <a:gd name="connsiteX3" fmla="*/ 0 w 754578"/>
                  <a:gd name="connsiteY3" fmla="*/ 210311 h 211912"/>
                  <a:gd name="connsiteX4" fmla="*/ 252454 w 754578"/>
                  <a:gd name="connsiteY4" fmla="*/ 3975 h 211912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599086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754578"/>
                  <a:gd name="connsiteY0" fmla="*/ 0 h 223840"/>
                  <a:gd name="connsiteX1" fmla="*/ 754578 w 754578"/>
                  <a:gd name="connsiteY1" fmla="*/ 7952 h 223840"/>
                  <a:gd name="connsiteX2" fmla="*/ 654745 w 754578"/>
                  <a:gd name="connsiteY2" fmla="*/ 223840 h 223840"/>
                  <a:gd name="connsiteX3" fmla="*/ 0 w 754578"/>
                  <a:gd name="connsiteY3" fmla="*/ 218263 h 223840"/>
                  <a:gd name="connsiteX4" fmla="*/ 172941 w 754578"/>
                  <a:gd name="connsiteY4" fmla="*/ 0 h 223840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646793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818189"/>
                  <a:gd name="connsiteY0" fmla="*/ 0 h 219864"/>
                  <a:gd name="connsiteX1" fmla="*/ 818189 w 818189"/>
                  <a:gd name="connsiteY1" fmla="*/ 31806 h 219864"/>
                  <a:gd name="connsiteX2" fmla="*/ 646793 w 818189"/>
                  <a:gd name="connsiteY2" fmla="*/ 219864 h 219864"/>
                  <a:gd name="connsiteX3" fmla="*/ 0 w 818189"/>
                  <a:gd name="connsiteY3" fmla="*/ 218263 h 219864"/>
                  <a:gd name="connsiteX4" fmla="*/ 172941 w 818189"/>
                  <a:gd name="connsiteY4" fmla="*/ 0 h 219864"/>
                  <a:gd name="connsiteX0" fmla="*/ 172941 w 806262"/>
                  <a:gd name="connsiteY0" fmla="*/ 0 h 219864"/>
                  <a:gd name="connsiteX1" fmla="*/ 806262 w 806262"/>
                  <a:gd name="connsiteY1" fmla="*/ 11928 h 219864"/>
                  <a:gd name="connsiteX2" fmla="*/ 646793 w 806262"/>
                  <a:gd name="connsiteY2" fmla="*/ 219864 h 219864"/>
                  <a:gd name="connsiteX3" fmla="*/ 0 w 806262"/>
                  <a:gd name="connsiteY3" fmla="*/ 218263 h 219864"/>
                  <a:gd name="connsiteX4" fmla="*/ 172941 w 806262"/>
                  <a:gd name="connsiteY4" fmla="*/ 0 h 219864"/>
                  <a:gd name="connsiteX0" fmla="*/ 172941 w 798310"/>
                  <a:gd name="connsiteY0" fmla="*/ 0 h 219864"/>
                  <a:gd name="connsiteX1" fmla="*/ 798310 w 798310"/>
                  <a:gd name="connsiteY1" fmla="*/ 15903 h 219864"/>
                  <a:gd name="connsiteX2" fmla="*/ 646793 w 798310"/>
                  <a:gd name="connsiteY2" fmla="*/ 219864 h 219864"/>
                  <a:gd name="connsiteX3" fmla="*/ 0 w 798310"/>
                  <a:gd name="connsiteY3" fmla="*/ 218263 h 219864"/>
                  <a:gd name="connsiteX4" fmla="*/ 172941 w 798310"/>
                  <a:gd name="connsiteY4" fmla="*/ 0 h 219864"/>
                  <a:gd name="connsiteX0" fmla="*/ 172941 w 798310"/>
                  <a:gd name="connsiteY0" fmla="*/ 0 h 259620"/>
                  <a:gd name="connsiteX1" fmla="*/ 798310 w 798310"/>
                  <a:gd name="connsiteY1" fmla="*/ 15903 h 259620"/>
                  <a:gd name="connsiteX2" fmla="*/ 614988 w 798310"/>
                  <a:gd name="connsiteY2" fmla="*/ 259620 h 259620"/>
                  <a:gd name="connsiteX3" fmla="*/ 0 w 798310"/>
                  <a:gd name="connsiteY3" fmla="*/ 218263 h 259620"/>
                  <a:gd name="connsiteX4" fmla="*/ 172941 w 798310"/>
                  <a:gd name="connsiteY4" fmla="*/ 0 h 259620"/>
                  <a:gd name="connsiteX0" fmla="*/ 188843 w 814212"/>
                  <a:gd name="connsiteY0" fmla="*/ 0 h 259620"/>
                  <a:gd name="connsiteX1" fmla="*/ 814212 w 814212"/>
                  <a:gd name="connsiteY1" fmla="*/ 15903 h 259620"/>
                  <a:gd name="connsiteX2" fmla="*/ 630890 w 814212"/>
                  <a:gd name="connsiteY2" fmla="*/ 259620 h 259620"/>
                  <a:gd name="connsiteX3" fmla="*/ 0 w 814212"/>
                  <a:gd name="connsiteY3" fmla="*/ 254043 h 259620"/>
                  <a:gd name="connsiteX4" fmla="*/ 188843 w 814212"/>
                  <a:gd name="connsiteY4" fmla="*/ 0 h 259620"/>
                  <a:gd name="connsiteX0" fmla="*/ 208721 w 834090"/>
                  <a:gd name="connsiteY0" fmla="*/ 0 h 259620"/>
                  <a:gd name="connsiteX1" fmla="*/ 834090 w 834090"/>
                  <a:gd name="connsiteY1" fmla="*/ 15903 h 259620"/>
                  <a:gd name="connsiteX2" fmla="*/ 650768 w 834090"/>
                  <a:gd name="connsiteY2" fmla="*/ 259620 h 259620"/>
                  <a:gd name="connsiteX3" fmla="*/ 0 w 834090"/>
                  <a:gd name="connsiteY3" fmla="*/ 254043 h 259620"/>
                  <a:gd name="connsiteX4" fmla="*/ 208721 w 834090"/>
                  <a:gd name="connsiteY4" fmla="*/ 0 h 259620"/>
                  <a:gd name="connsiteX0" fmla="*/ 268356 w 893725"/>
                  <a:gd name="connsiteY0" fmla="*/ 0 h 259620"/>
                  <a:gd name="connsiteX1" fmla="*/ 893725 w 893725"/>
                  <a:gd name="connsiteY1" fmla="*/ 15903 h 259620"/>
                  <a:gd name="connsiteX2" fmla="*/ 710403 w 893725"/>
                  <a:gd name="connsiteY2" fmla="*/ 259620 h 259620"/>
                  <a:gd name="connsiteX3" fmla="*/ 0 w 893725"/>
                  <a:gd name="connsiteY3" fmla="*/ 254043 h 259620"/>
                  <a:gd name="connsiteX4" fmla="*/ 268356 w 893725"/>
                  <a:gd name="connsiteY4" fmla="*/ 0 h 259620"/>
                  <a:gd name="connsiteX0" fmla="*/ 260405 w 885774"/>
                  <a:gd name="connsiteY0" fmla="*/ 0 h 259620"/>
                  <a:gd name="connsiteX1" fmla="*/ 885774 w 885774"/>
                  <a:gd name="connsiteY1" fmla="*/ 15903 h 259620"/>
                  <a:gd name="connsiteX2" fmla="*/ 702452 w 885774"/>
                  <a:gd name="connsiteY2" fmla="*/ 259620 h 259620"/>
                  <a:gd name="connsiteX3" fmla="*/ 0 w 885774"/>
                  <a:gd name="connsiteY3" fmla="*/ 254043 h 259620"/>
                  <a:gd name="connsiteX4" fmla="*/ 260405 w 885774"/>
                  <a:gd name="connsiteY4" fmla="*/ 0 h 259620"/>
                  <a:gd name="connsiteX0" fmla="*/ 220648 w 885774"/>
                  <a:gd name="connsiteY0" fmla="*/ 0 h 243717"/>
                  <a:gd name="connsiteX1" fmla="*/ 885774 w 885774"/>
                  <a:gd name="connsiteY1" fmla="*/ 0 h 243717"/>
                  <a:gd name="connsiteX2" fmla="*/ 702452 w 885774"/>
                  <a:gd name="connsiteY2" fmla="*/ 243717 h 243717"/>
                  <a:gd name="connsiteX3" fmla="*/ 0 w 885774"/>
                  <a:gd name="connsiteY3" fmla="*/ 238140 h 243717"/>
                  <a:gd name="connsiteX4" fmla="*/ 220648 w 885774"/>
                  <a:gd name="connsiteY4" fmla="*/ 0 h 243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5774" h="243717">
                    <a:moveTo>
                      <a:pt x="220648" y="0"/>
                    </a:moveTo>
                    <a:lnTo>
                      <a:pt x="885774" y="0"/>
                    </a:lnTo>
                    <a:lnTo>
                      <a:pt x="702452" y="243717"/>
                    </a:lnTo>
                    <a:lnTo>
                      <a:pt x="0" y="238140"/>
                    </a:lnTo>
                    <a:lnTo>
                      <a:pt x="220648" y="0"/>
                    </a:lnTo>
                    <a:close/>
                  </a:path>
                </a:pathLst>
              </a:custGeom>
              <a:solidFill>
                <a:srgbClr val="FFFFFF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>
                <a:softEdge rad="31750"/>
              </a:effectLst>
            </p:spPr>
            <p:txBody>
              <a:bodyPr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3" name="Groep 142"/>
              <p:cNvGrpSpPr/>
              <p:nvPr userDrawn="1"/>
            </p:nvGrpSpPr>
            <p:grpSpPr>
              <a:xfrm>
                <a:off x="15281106" y="1587338"/>
                <a:ext cx="511775" cy="560304"/>
                <a:chOff x="10604642" y="969717"/>
                <a:chExt cx="1290643" cy="1427163"/>
              </a:xfrm>
            </p:grpSpPr>
            <p:grpSp>
              <p:nvGrpSpPr>
                <p:cNvPr id="144" name="Group 879"/>
                <p:cNvGrpSpPr>
                  <a:grpSpLocks noChangeAspect="1"/>
                </p:cNvGrpSpPr>
                <p:nvPr userDrawn="1"/>
              </p:nvGrpSpPr>
              <p:grpSpPr bwMode="auto">
                <a:xfrm>
                  <a:off x="10604642" y="969717"/>
                  <a:ext cx="1290643" cy="1427163"/>
                  <a:chOff x="4798" y="1515"/>
                  <a:chExt cx="813" cy="899"/>
                </a:xfrm>
              </p:grpSpPr>
              <p:sp>
                <p:nvSpPr>
                  <p:cNvPr id="146" name="Freeform 886"/>
                  <p:cNvSpPr>
                    <a:spLocks/>
                  </p:cNvSpPr>
                  <p:nvPr userDrawn="1"/>
                </p:nvSpPr>
                <p:spPr bwMode="auto">
                  <a:xfrm>
                    <a:off x="5269" y="1515"/>
                    <a:ext cx="71" cy="898"/>
                  </a:xfrm>
                  <a:custGeom>
                    <a:avLst/>
                    <a:gdLst>
                      <a:gd name="T0" fmla="*/ 282 w 282"/>
                      <a:gd name="T1" fmla="*/ 0 h 3595"/>
                      <a:gd name="T2" fmla="*/ 282 w 282"/>
                      <a:gd name="T3" fmla="*/ 3138 h 3595"/>
                      <a:gd name="T4" fmla="*/ 0 w 282"/>
                      <a:gd name="T5" fmla="*/ 3595 h 3595"/>
                      <a:gd name="T6" fmla="*/ 0 w 282"/>
                      <a:gd name="T7" fmla="*/ 285 h 3595"/>
                      <a:gd name="T8" fmla="*/ 282 w 282"/>
                      <a:gd name="T9" fmla="*/ 0 h 35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2" h="3595">
                        <a:moveTo>
                          <a:pt x="282" y="0"/>
                        </a:moveTo>
                        <a:lnTo>
                          <a:pt x="282" y="3138"/>
                        </a:lnTo>
                        <a:lnTo>
                          <a:pt x="0" y="3595"/>
                        </a:lnTo>
                        <a:lnTo>
                          <a:pt x="0" y="285"/>
                        </a:lnTo>
                        <a:lnTo>
                          <a:pt x="282" y="0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7" name="Rectangle 880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515"/>
                    <a:ext cx="813" cy="899"/>
                  </a:xfrm>
                  <a:prstGeom prst="rect">
                    <a:avLst/>
                  </a:prstGeom>
                  <a:noFill/>
                  <a:ln w="0">
                    <a:noFill/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8" name="Rectangle 881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857"/>
                    <a:ext cx="228" cy="55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002060"/>
                      </a:gs>
                      <a:gs pos="100000">
                        <a:srgbClr val="1929FF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9" name="Freeform 882"/>
                  <p:cNvSpPr>
                    <a:spLocks/>
                  </p:cNvSpPr>
                  <p:nvPr userDrawn="1"/>
                </p:nvSpPr>
                <p:spPr bwMode="auto">
                  <a:xfrm>
                    <a:off x="4798" y="1771"/>
                    <a:ext cx="314" cy="86"/>
                  </a:xfrm>
                  <a:custGeom>
                    <a:avLst/>
                    <a:gdLst>
                      <a:gd name="T0" fmla="*/ 411 w 1255"/>
                      <a:gd name="T1" fmla="*/ 0 h 342"/>
                      <a:gd name="T2" fmla="*/ 1255 w 1255"/>
                      <a:gd name="T3" fmla="*/ 0 h 342"/>
                      <a:gd name="T4" fmla="*/ 913 w 1255"/>
                      <a:gd name="T5" fmla="*/ 342 h 342"/>
                      <a:gd name="T6" fmla="*/ 0 w 1255"/>
                      <a:gd name="T7" fmla="*/ 342 h 342"/>
                      <a:gd name="T8" fmla="*/ 411 w 1255"/>
                      <a:gd name="T9" fmla="*/ 0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255" h="342">
                        <a:moveTo>
                          <a:pt x="411" y="0"/>
                        </a:moveTo>
                        <a:lnTo>
                          <a:pt x="1255" y="0"/>
                        </a:lnTo>
                        <a:lnTo>
                          <a:pt x="913" y="342"/>
                        </a:lnTo>
                        <a:lnTo>
                          <a:pt x="0" y="342"/>
                        </a:lnTo>
                        <a:lnTo>
                          <a:pt x="411" y="0"/>
                        </a:lnTo>
                        <a:close/>
                      </a:path>
                    </a:pathLst>
                  </a:custGeom>
                  <a:solidFill>
                    <a:srgbClr val="0039AC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0" name="Freeform 883"/>
                  <p:cNvSpPr>
                    <a:spLocks/>
                  </p:cNvSpPr>
                  <p:nvPr userDrawn="1"/>
                </p:nvSpPr>
                <p:spPr bwMode="auto">
                  <a:xfrm>
                    <a:off x="5026" y="1771"/>
                    <a:ext cx="85" cy="642"/>
                  </a:xfrm>
                  <a:custGeom>
                    <a:avLst/>
                    <a:gdLst>
                      <a:gd name="T0" fmla="*/ 342 w 342"/>
                      <a:gd name="T1" fmla="*/ 0 h 2568"/>
                      <a:gd name="T2" fmla="*/ 342 w 342"/>
                      <a:gd name="T3" fmla="*/ 2111 h 2568"/>
                      <a:gd name="T4" fmla="*/ 0 w 342"/>
                      <a:gd name="T5" fmla="*/ 2568 h 2568"/>
                      <a:gd name="T6" fmla="*/ 0 w 342"/>
                      <a:gd name="T7" fmla="*/ 342 h 2568"/>
                      <a:gd name="T8" fmla="*/ 342 w 342"/>
                      <a:gd name="T9" fmla="*/ 0 h 25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568">
                        <a:moveTo>
                          <a:pt x="342" y="0"/>
                        </a:moveTo>
                        <a:lnTo>
                          <a:pt x="342" y="2111"/>
                        </a:lnTo>
                        <a:lnTo>
                          <a:pt x="0" y="2568"/>
                        </a:lnTo>
                        <a:lnTo>
                          <a:pt x="0" y="342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000075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1" name="Freeform 884"/>
                  <p:cNvSpPr>
                    <a:spLocks/>
                  </p:cNvSpPr>
                  <p:nvPr userDrawn="1"/>
                </p:nvSpPr>
                <p:spPr bwMode="auto">
                  <a:xfrm>
                    <a:off x="5054" y="1515"/>
                    <a:ext cx="286" cy="72"/>
                  </a:xfrm>
                  <a:custGeom>
                    <a:avLst/>
                    <a:gdLst>
                      <a:gd name="T0" fmla="*/ 318 w 1140"/>
                      <a:gd name="T1" fmla="*/ 0 h 289"/>
                      <a:gd name="T2" fmla="*/ 1140 w 1140"/>
                      <a:gd name="T3" fmla="*/ 0 h 289"/>
                      <a:gd name="T4" fmla="*/ 855 w 1140"/>
                      <a:gd name="T5" fmla="*/ 289 h 289"/>
                      <a:gd name="T6" fmla="*/ 0 w 1140"/>
                      <a:gd name="T7" fmla="*/ 289 h 289"/>
                      <a:gd name="T8" fmla="*/ 318 w 1140"/>
                      <a:gd name="T9" fmla="*/ 0 h 2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0" h="289">
                        <a:moveTo>
                          <a:pt x="318" y="0"/>
                        </a:moveTo>
                        <a:lnTo>
                          <a:pt x="1140" y="0"/>
                        </a:lnTo>
                        <a:lnTo>
                          <a:pt x="855" y="289"/>
                        </a:lnTo>
                        <a:lnTo>
                          <a:pt x="0" y="289"/>
                        </a:lnTo>
                        <a:lnTo>
                          <a:pt x="318" y="0"/>
                        </a:lnTo>
                        <a:close/>
                      </a:path>
                    </a:pathLst>
                  </a:custGeom>
                  <a:solidFill>
                    <a:srgbClr val="EEFF26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2" name="Rectangle 885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054" y="1587"/>
                    <a:ext cx="215" cy="82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FFC000"/>
                      </a:gs>
                      <a:gs pos="100000">
                        <a:srgbClr val="FFFF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3" name="Rectangle 887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298" y="1771"/>
                    <a:ext cx="228" cy="643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B80004"/>
                      </a:gs>
                      <a:gs pos="100000">
                        <a:srgbClr val="FF00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4" name="Freeform 888"/>
                  <p:cNvSpPr>
                    <a:spLocks/>
                  </p:cNvSpPr>
                  <p:nvPr userDrawn="1"/>
                </p:nvSpPr>
                <p:spPr bwMode="auto">
                  <a:xfrm>
                    <a:off x="5526" y="1686"/>
                    <a:ext cx="85" cy="727"/>
                  </a:xfrm>
                  <a:custGeom>
                    <a:avLst/>
                    <a:gdLst>
                      <a:gd name="T0" fmla="*/ 342 w 342"/>
                      <a:gd name="T1" fmla="*/ 0 h 2911"/>
                      <a:gd name="T2" fmla="*/ 342 w 342"/>
                      <a:gd name="T3" fmla="*/ 2477 h 2911"/>
                      <a:gd name="T4" fmla="*/ 0 w 342"/>
                      <a:gd name="T5" fmla="*/ 2911 h 2911"/>
                      <a:gd name="T6" fmla="*/ 0 w 342"/>
                      <a:gd name="T7" fmla="*/ 334 h 2911"/>
                      <a:gd name="T8" fmla="*/ 342 w 342"/>
                      <a:gd name="T9" fmla="*/ 0 h 29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911">
                        <a:moveTo>
                          <a:pt x="342" y="0"/>
                        </a:moveTo>
                        <a:lnTo>
                          <a:pt x="342" y="2477"/>
                        </a:lnTo>
                        <a:lnTo>
                          <a:pt x="0" y="2911"/>
                        </a:lnTo>
                        <a:lnTo>
                          <a:pt x="0" y="334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C2001B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  <p:sp>
              <p:nvSpPr>
                <p:cNvPr id="145" name="Vrije vorm 144"/>
                <p:cNvSpPr/>
                <p:nvPr userDrawn="1"/>
              </p:nvSpPr>
              <p:spPr>
                <a:xfrm>
                  <a:off x="11389225" y="1241176"/>
                  <a:ext cx="506025" cy="137883"/>
                </a:xfrm>
                <a:custGeom>
                  <a:avLst/>
                  <a:gdLst>
                    <a:gd name="connsiteX0" fmla="*/ 0 w 508407"/>
                    <a:gd name="connsiteY0" fmla="*/ 142646 h 146304"/>
                    <a:gd name="connsiteX1" fmla="*/ 369418 w 508407"/>
                    <a:gd name="connsiteY1" fmla="*/ 146304 h 146304"/>
                    <a:gd name="connsiteX2" fmla="*/ 508407 w 508407"/>
                    <a:gd name="connsiteY2" fmla="*/ 0 h 146304"/>
                    <a:gd name="connsiteX3" fmla="*/ 168250 w 508407"/>
                    <a:gd name="connsiteY3" fmla="*/ 0 h 146304"/>
                    <a:gd name="connsiteX4" fmla="*/ 0 w 508407"/>
                    <a:gd name="connsiteY4" fmla="*/ 142646 h 146304"/>
                    <a:gd name="connsiteX0" fmla="*/ 0 w 508407"/>
                    <a:gd name="connsiteY0" fmla="*/ 142646 h 142646"/>
                    <a:gd name="connsiteX1" fmla="*/ 376562 w 508407"/>
                    <a:gd name="connsiteY1" fmla="*/ 136779 h 142646"/>
                    <a:gd name="connsiteX2" fmla="*/ 508407 w 508407"/>
                    <a:gd name="connsiteY2" fmla="*/ 0 h 142646"/>
                    <a:gd name="connsiteX3" fmla="*/ 168250 w 508407"/>
                    <a:gd name="connsiteY3" fmla="*/ 0 h 142646"/>
                    <a:gd name="connsiteX4" fmla="*/ 0 w 508407"/>
                    <a:gd name="connsiteY4" fmla="*/ 142646 h 142646"/>
                    <a:gd name="connsiteX0" fmla="*/ 0 w 506025"/>
                    <a:gd name="connsiteY0" fmla="*/ 137883 h 137883"/>
                    <a:gd name="connsiteX1" fmla="*/ 374180 w 506025"/>
                    <a:gd name="connsiteY1" fmla="*/ 136779 h 137883"/>
                    <a:gd name="connsiteX2" fmla="*/ 506025 w 506025"/>
                    <a:gd name="connsiteY2" fmla="*/ 0 h 137883"/>
                    <a:gd name="connsiteX3" fmla="*/ 165868 w 506025"/>
                    <a:gd name="connsiteY3" fmla="*/ 0 h 137883"/>
                    <a:gd name="connsiteX4" fmla="*/ 0 w 506025"/>
                    <a:gd name="connsiteY4" fmla="*/ 137883 h 137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6025" h="137883">
                      <a:moveTo>
                        <a:pt x="0" y="137883"/>
                      </a:moveTo>
                      <a:lnTo>
                        <a:pt x="374180" y="136779"/>
                      </a:lnTo>
                      <a:lnTo>
                        <a:pt x="506025" y="0"/>
                      </a:lnTo>
                      <a:lnTo>
                        <a:pt x="165868" y="0"/>
                      </a:lnTo>
                      <a:lnTo>
                        <a:pt x="0" y="137883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9" name="Groep 88"/>
            <p:cNvGrpSpPr/>
            <p:nvPr/>
          </p:nvGrpSpPr>
          <p:grpSpPr>
            <a:xfrm>
              <a:off x="12487778" y="6003628"/>
              <a:ext cx="1980859" cy="542924"/>
              <a:chOff x="12390702" y="6054428"/>
              <a:chExt cx="1980859" cy="542924"/>
            </a:xfrm>
          </p:grpSpPr>
          <p:sp>
            <p:nvSpPr>
              <p:cNvPr id="108" name="Rechthoek 107"/>
              <p:cNvSpPr/>
              <p:nvPr/>
            </p:nvSpPr>
            <p:spPr>
              <a:xfrm>
                <a:off x="12402284" y="6054428"/>
                <a:ext cx="1969277" cy="5429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09" name="Rechthoek 108"/>
              <p:cNvSpPr/>
              <p:nvPr/>
            </p:nvSpPr>
            <p:spPr>
              <a:xfrm>
                <a:off x="12662053" y="6062530"/>
                <a:ext cx="132760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l-NL" sz="11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Ander grafiektype…</a:t>
                </a:r>
              </a:p>
            </p:txBody>
          </p:sp>
          <p:sp>
            <p:nvSpPr>
              <p:cNvPr id="110" name="Gelijkbenige driehoek 109"/>
              <p:cNvSpPr/>
              <p:nvPr/>
            </p:nvSpPr>
            <p:spPr>
              <a:xfrm rot="5400000">
                <a:off x="14210471" y="6150144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11" name="Afgeronde rechthoek 110"/>
              <p:cNvSpPr/>
              <p:nvPr/>
            </p:nvSpPr>
            <p:spPr>
              <a:xfrm>
                <a:off x="12390702" y="6322741"/>
                <a:ext cx="1973675" cy="268314"/>
              </a:xfrm>
              <a:prstGeom prst="roundRect">
                <a:avLst/>
              </a:prstGeom>
              <a:gradFill>
                <a:gsLst>
                  <a:gs pos="0">
                    <a:srgbClr val="FFF2BD"/>
                  </a:gs>
                  <a:gs pos="34000">
                    <a:srgbClr val="FFE98B"/>
                  </a:gs>
                  <a:gs pos="78000">
                    <a:srgbClr val="FFF5C9"/>
                  </a:gs>
                  <a:gs pos="59000">
                    <a:srgbClr val="FFE98B"/>
                  </a:gs>
                </a:gsLst>
                <a:lin ang="5400000" scaled="0"/>
              </a:gradFill>
              <a:ln w="63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tlCol="0" anchor="ctr"/>
              <a:lstStyle/>
              <a:p>
                <a:r>
                  <a:rPr lang="nl-NL" sz="1200" dirty="0">
                    <a:solidFill>
                      <a:schemeClr val="tx1"/>
                    </a:solidFill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Gegevens bewerken…</a:t>
                </a:r>
              </a:p>
            </p:txBody>
          </p:sp>
          <p:grpSp>
            <p:nvGrpSpPr>
              <p:cNvPr id="112" name="Groep 111"/>
              <p:cNvGrpSpPr/>
              <p:nvPr/>
            </p:nvGrpSpPr>
            <p:grpSpPr>
              <a:xfrm>
                <a:off x="12461788" y="6100223"/>
                <a:ext cx="204691" cy="170000"/>
                <a:chOff x="15171969" y="1587338"/>
                <a:chExt cx="755407" cy="627385"/>
              </a:xfrm>
            </p:grpSpPr>
            <p:sp>
              <p:nvSpPr>
                <p:cNvPr id="129" name="Rechthoek 962"/>
                <p:cNvSpPr/>
                <p:nvPr userDrawn="1"/>
              </p:nvSpPr>
              <p:spPr>
                <a:xfrm>
                  <a:off x="15171969" y="2008934"/>
                  <a:ext cx="755407" cy="205789"/>
                </a:xfrm>
                <a:custGeom>
                  <a:avLst/>
                  <a:gdLst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664132 w 664132"/>
                    <a:gd name="connsiteY2" fmla="*/ 27778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664132"/>
                    <a:gd name="connsiteY0" fmla="*/ 0 h 290487"/>
                    <a:gd name="connsiteX1" fmla="*/ 664132 w 664132"/>
                    <a:gd name="connsiteY1" fmla="*/ 0 h 290487"/>
                    <a:gd name="connsiteX2" fmla="*/ 333932 w 664132"/>
                    <a:gd name="connsiteY2" fmla="*/ 290487 h 290487"/>
                    <a:gd name="connsiteX3" fmla="*/ 0 w 664132"/>
                    <a:gd name="connsiteY3" fmla="*/ 277787 h 290487"/>
                    <a:gd name="connsiteX4" fmla="*/ 0 w 664132"/>
                    <a:gd name="connsiteY4" fmla="*/ 0 h 290487"/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575232 w 664132"/>
                    <a:gd name="connsiteY2" fmla="*/ 27143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708582"/>
                    <a:gd name="connsiteY0" fmla="*/ 0 h 277787"/>
                    <a:gd name="connsiteX1" fmla="*/ 708582 w 708582"/>
                    <a:gd name="connsiteY1" fmla="*/ 31750 h 277787"/>
                    <a:gd name="connsiteX2" fmla="*/ 575232 w 708582"/>
                    <a:gd name="connsiteY2" fmla="*/ 271437 h 277787"/>
                    <a:gd name="connsiteX3" fmla="*/ 0 w 708582"/>
                    <a:gd name="connsiteY3" fmla="*/ 277787 h 277787"/>
                    <a:gd name="connsiteX4" fmla="*/ 0 w 708582"/>
                    <a:gd name="connsiteY4" fmla="*/ 0 h 277787"/>
                    <a:gd name="connsiteX0" fmla="*/ 228600 w 708582"/>
                    <a:gd name="connsiteY0" fmla="*/ 6350 h 246037"/>
                    <a:gd name="connsiteX1" fmla="*/ 708582 w 708582"/>
                    <a:gd name="connsiteY1" fmla="*/ 0 h 246037"/>
                    <a:gd name="connsiteX2" fmla="*/ 575232 w 708582"/>
                    <a:gd name="connsiteY2" fmla="*/ 239687 h 246037"/>
                    <a:gd name="connsiteX3" fmla="*/ 0 w 708582"/>
                    <a:gd name="connsiteY3" fmla="*/ 246037 h 246037"/>
                    <a:gd name="connsiteX4" fmla="*/ 228600 w 708582"/>
                    <a:gd name="connsiteY4" fmla="*/ 6350 h 246037"/>
                    <a:gd name="connsiteX0" fmla="*/ 228600 w 778432"/>
                    <a:gd name="connsiteY0" fmla="*/ 0 h 239687"/>
                    <a:gd name="connsiteX1" fmla="*/ 778432 w 778432"/>
                    <a:gd name="connsiteY1" fmla="*/ 25400 h 239687"/>
                    <a:gd name="connsiteX2" fmla="*/ 575232 w 778432"/>
                    <a:gd name="connsiteY2" fmla="*/ 233337 h 239687"/>
                    <a:gd name="connsiteX3" fmla="*/ 0 w 778432"/>
                    <a:gd name="connsiteY3" fmla="*/ 239687 h 239687"/>
                    <a:gd name="connsiteX4" fmla="*/ 228600 w 778432"/>
                    <a:gd name="connsiteY4" fmla="*/ 0 h 239687"/>
                    <a:gd name="connsiteX0" fmla="*/ 228600 w 778432"/>
                    <a:gd name="connsiteY0" fmla="*/ 0 h 214287"/>
                    <a:gd name="connsiteX1" fmla="*/ 778432 w 778432"/>
                    <a:gd name="connsiteY1" fmla="*/ 0 h 214287"/>
                    <a:gd name="connsiteX2" fmla="*/ 575232 w 778432"/>
                    <a:gd name="connsiteY2" fmla="*/ 207937 h 214287"/>
                    <a:gd name="connsiteX3" fmla="*/ 0 w 778432"/>
                    <a:gd name="connsiteY3" fmla="*/ 214287 h 214287"/>
                    <a:gd name="connsiteX4" fmla="*/ 228600 w 778432"/>
                    <a:gd name="connsiteY4" fmla="*/ 0 h 214287"/>
                    <a:gd name="connsiteX0" fmla="*/ 228600 w 730724"/>
                    <a:gd name="connsiteY0" fmla="*/ 3975 h 218262"/>
                    <a:gd name="connsiteX1" fmla="*/ 730724 w 730724"/>
                    <a:gd name="connsiteY1" fmla="*/ 0 h 218262"/>
                    <a:gd name="connsiteX2" fmla="*/ 575232 w 730724"/>
                    <a:gd name="connsiteY2" fmla="*/ 211912 h 218262"/>
                    <a:gd name="connsiteX3" fmla="*/ 0 w 730724"/>
                    <a:gd name="connsiteY3" fmla="*/ 218262 h 218262"/>
                    <a:gd name="connsiteX4" fmla="*/ 228600 w 730724"/>
                    <a:gd name="connsiteY4" fmla="*/ 3975 h 218262"/>
                    <a:gd name="connsiteX0" fmla="*/ 252454 w 754578"/>
                    <a:gd name="connsiteY0" fmla="*/ 3975 h 211912"/>
                    <a:gd name="connsiteX1" fmla="*/ 754578 w 754578"/>
                    <a:gd name="connsiteY1" fmla="*/ 0 h 211912"/>
                    <a:gd name="connsiteX2" fmla="*/ 599086 w 754578"/>
                    <a:gd name="connsiteY2" fmla="*/ 211912 h 211912"/>
                    <a:gd name="connsiteX3" fmla="*/ 0 w 754578"/>
                    <a:gd name="connsiteY3" fmla="*/ 210311 h 211912"/>
                    <a:gd name="connsiteX4" fmla="*/ 252454 w 754578"/>
                    <a:gd name="connsiteY4" fmla="*/ 3975 h 211912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599086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754578"/>
                    <a:gd name="connsiteY0" fmla="*/ 0 h 223840"/>
                    <a:gd name="connsiteX1" fmla="*/ 754578 w 754578"/>
                    <a:gd name="connsiteY1" fmla="*/ 7952 h 223840"/>
                    <a:gd name="connsiteX2" fmla="*/ 654745 w 754578"/>
                    <a:gd name="connsiteY2" fmla="*/ 223840 h 223840"/>
                    <a:gd name="connsiteX3" fmla="*/ 0 w 754578"/>
                    <a:gd name="connsiteY3" fmla="*/ 218263 h 223840"/>
                    <a:gd name="connsiteX4" fmla="*/ 172941 w 754578"/>
                    <a:gd name="connsiteY4" fmla="*/ 0 h 223840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646793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818189"/>
                    <a:gd name="connsiteY0" fmla="*/ 0 h 219864"/>
                    <a:gd name="connsiteX1" fmla="*/ 818189 w 818189"/>
                    <a:gd name="connsiteY1" fmla="*/ 31806 h 219864"/>
                    <a:gd name="connsiteX2" fmla="*/ 646793 w 818189"/>
                    <a:gd name="connsiteY2" fmla="*/ 219864 h 219864"/>
                    <a:gd name="connsiteX3" fmla="*/ 0 w 818189"/>
                    <a:gd name="connsiteY3" fmla="*/ 218263 h 219864"/>
                    <a:gd name="connsiteX4" fmla="*/ 172941 w 818189"/>
                    <a:gd name="connsiteY4" fmla="*/ 0 h 219864"/>
                    <a:gd name="connsiteX0" fmla="*/ 172941 w 806262"/>
                    <a:gd name="connsiteY0" fmla="*/ 0 h 219864"/>
                    <a:gd name="connsiteX1" fmla="*/ 806262 w 806262"/>
                    <a:gd name="connsiteY1" fmla="*/ 11928 h 219864"/>
                    <a:gd name="connsiteX2" fmla="*/ 646793 w 806262"/>
                    <a:gd name="connsiteY2" fmla="*/ 219864 h 219864"/>
                    <a:gd name="connsiteX3" fmla="*/ 0 w 806262"/>
                    <a:gd name="connsiteY3" fmla="*/ 218263 h 219864"/>
                    <a:gd name="connsiteX4" fmla="*/ 172941 w 806262"/>
                    <a:gd name="connsiteY4" fmla="*/ 0 h 219864"/>
                    <a:gd name="connsiteX0" fmla="*/ 172941 w 798310"/>
                    <a:gd name="connsiteY0" fmla="*/ 0 h 219864"/>
                    <a:gd name="connsiteX1" fmla="*/ 798310 w 798310"/>
                    <a:gd name="connsiteY1" fmla="*/ 15903 h 219864"/>
                    <a:gd name="connsiteX2" fmla="*/ 646793 w 798310"/>
                    <a:gd name="connsiteY2" fmla="*/ 219864 h 219864"/>
                    <a:gd name="connsiteX3" fmla="*/ 0 w 798310"/>
                    <a:gd name="connsiteY3" fmla="*/ 218263 h 219864"/>
                    <a:gd name="connsiteX4" fmla="*/ 172941 w 798310"/>
                    <a:gd name="connsiteY4" fmla="*/ 0 h 219864"/>
                    <a:gd name="connsiteX0" fmla="*/ 172941 w 798310"/>
                    <a:gd name="connsiteY0" fmla="*/ 0 h 259620"/>
                    <a:gd name="connsiteX1" fmla="*/ 798310 w 798310"/>
                    <a:gd name="connsiteY1" fmla="*/ 15903 h 259620"/>
                    <a:gd name="connsiteX2" fmla="*/ 614988 w 798310"/>
                    <a:gd name="connsiteY2" fmla="*/ 259620 h 259620"/>
                    <a:gd name="connsiteX3" fmla="*/ 0 w 798310"/>
                    <a:gd name="connsiteY3" fmla="*/ 218263 h 259620"/>
                    <a:gd name="connsiteX4" fmla="*/ 172941 w 798310"/>
                    <a:gd name="connsiteY4" fmla="*/ 0 h 259620"/>
                    <a:gd name="connsiteX0" fmla="*/ 188843 w 814212"/>
                    <a:gd name="connsiteY0" fmla="*/ 0 h 259620"/>
                    <a:gd name="connsiteX1" fmla="*/ 814212 w 814212"/>
                    <a:gd name="connsiteY1" fmla="*/ 15903 h 259620"/>
                    <a:gd name="connsiteX2" fmla="*/ 630890 w 814212"/>
                    <a:gd name="connsiteY2" fmla="*/ 259620 h 259620"/>
                    <a:gd name="connsiteX3" fmla="*/ 0 w 814212"/>
                    <a:gd name="connsiteY3" fmla="*/ 254043 h 259620"/>
                    <a:gd name="connsiteX4" fmla="*/ 188843 w 814212"/>
                    <a:gd name="connsiteY4" fmla="*/ 0 h 259620"/>
                    <a:gd name="connsiteX0" fmla="*/ 208721 w 834090"/>
                    <a:gd name="connsiteY0" fmla="*/ 0 h 259620"/>
                    <a:gd name="connsiteX1" fmla="*/ 834090 w 834090"/>
                    <a:gd name="connsiteY1" fmla="*/ 15903 h 259620"/>
                    <a:gd name="connsiteX2" fmla="*/ 650768 w 834090"/>
                    <a:gd name="connsiteY2" fmla="*/ 259620 h 259620"/>
                    <a:gd name="connsiteX3" fmla="*/ 0 w 834090"/>
                    <a:gd name="connsiteY3" fmla="*/ 254043 h 259620"/>
                    <a:gd name="connsiteX4" fmla="*/ 208721 w 834090"/>
                    <a:gd name="connsiteY4" fmla="*/ 0 h 259620"/>
                    <a:gd name="connsiteX0" fmla="*/ 268356 w 893725"/>
                    <a:gd name="connsiteY0" fmla="*/ 0 h 259620"/>
                    <a:gd name="connsiteX1" fmla="*/ 893725 w 893725"/>
                    <a:gd name="connsiteY1" fmla="*/ 15903 h 259620"/>
                    <a:gd name="connsiteX2" fmla="*/ 710403 w 893725"/>
                    <a:gd name="connsiteY2" fmla="*/ 259620 h 259620"/>
                    <a:gd name="connsiteX3" fmla="*/ 0 w 893725"/>
                    <a:gd name="connsiteY3" fmla="*/ 254043 h 259620"/>
                    <a:gd name="connsiteX4" fmla="*/ 268356 w 893725"/>
                    <a:gd name="connsiteY4" fmla="*/ 0 h 259620"/>
                    <a:gd name="connsiteX0" fmla="*/ 260405 w 885774"/>
                    <a:gd name="connsiteY0" fmla="*/ 0 h 259620"/>
                    <a:gd name="connsiteX1" fmla="*/ 885774 w 885774"/>
                    <a:gd name="connsiteY1" fmla="*/ 15903 h 259620"/>
                    <a:gd name="connsiteX2" fmla="*/ 702452 w 885774"/>
                    <a:gd name="connsiteY2" fmla="*/ 259620 h 259620"/>
                    <a:gd name="connsiteX3" fmla="*/ 0 w 885774"/>
                    <a:gd name="connsiteY3" fmla="*/ 254043 h 259620"/>
                    <a:gd name="connsiteX4" fmla="*/ 260405 w 885774"/>
                    <a:gd name="connsiteY4" fmla="*/ 0 h 259620"/>
                    <a:gd name="connsiteX0" fmla="*/ 220648 w 885774"/>
                    <a:gd name="connsiteY0" fmla="*/ 0 h 243717"/>
                    <a:gd name="connsiteX1" fmla="*/ 885774 w 885774"/>
                    <a:gd name="connsiteY1" fmla="*/ 0 h 243717"/>
                    <a:gd name="connsiteX2" fmla="*/ 702452 w 885774"/>
                    <a:gd name="connsiteY2" fmla="*/ 243717 h 243717"/>
                    <a:gd name="connsiteX3" fmla="*/ 0 w 885774"/>
                    <a:gd name="connsiteY3" fmla="*/ 238140 h 243717"/>
                    <a:gd name="connsiteX4" fmla="*/ 220648 w 885774"/>
                    <a:gd name="connsiteY4" fmla="*/ 0 h 243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5774" h="243717">
                      <a:moveTo>
                        <a:pt x="220648" y="0"/>
                      </a:moveTo>
                      <a:lnTo>
                        <a:pt x="885774" y="0"/>
                      </a:lnTo>
                      <a:lnTo>
                        <a:pt x="702452" y="243717"/>
                      </a:lnTo>
                      <a:lnTo>
                        <a:pt x="0" y="238140"/>
                      </a:lnTo>
                      <a:lnTo>
                        <a:pt x="220648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>
                  <a:softEdge rad="31750"/>
                </a:effectLst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30" name="Groep 129"/>
                <p:cNvGrpSpPr/>
                <p:nvPr userDrawn="1"/>
              </p:nvGrpSpPr>
              <p:grpSpPr>
                <a:xfrm>
                  <a:off x="15281106" y="1587338"/>
                  <a:ext cx="511775" cy="560304"/>
                  <a:chOff x="10604642" y="969717"/>
                  <a:chExt cx="1290643" cy="1427163"/>
                </a:xfrm>
              </p:grpSpPr>
              <p:grpSp>
                <p:nvGrpSpPr>
                  <p:cNvPr id="131" name="Group 879"/>
                  <p:cNvGrpSpPr>
                    <a:grpSpLocks noChangeAspect="1"/>
                  </p:cNvGrpSpPr>
                  <p:nvPr userDrawn="1"/>
                </p:nvGrpSpPr>
                <p:grpSpPr bwMode="auto">
                  <a:xfrm>
                    <a:off x="10604642" y="969717"/>
                    <a:ext cx="1290643" cy="1427163"/>
                    <a:chOff x="4798" y="1515"/>
                    <a:chExt cx="813" cy="899"/>
                  </a:xfrm>
                </p:grpSpPr>
                <p:sp>
                  <p:nvSpPr>
                    <p:cNvPr id="133" name="Freeform 886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269" y="1515"/>
                      <a:ext cx="71" cy="898"/>
                    </a:xfrm>
                    <a:custGeom>
                      <a:avLst/>
                      <a:gdLst>
                        <a:gd name="T0" fmla="*/ 282 w 282"/>
                        <a:gd name="T1" fmla="*/ 0 h 3595"/>
                        <a:gd name="T2" fmla="*/ 282 w 282"/>
                        <a:gd name="T3" fmla="*/ 3138 h 3595"/>
                        <a:gd name="T4" fmla="*/ 0 w 282"/>
                        <a:gd name="T5" fmla="*/ 3595 h 3595"/>
                        <a:gd name="T6" fmla="*/ 0 w 282"/>
                        <a:gd name="T7" fmla="*/ 285 h 3595"/>
                        <a:gd name="T8" fmla="*/ 282 w 282"/>
                        <a:gd name="T9" fmla="*/ 0 h 35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2" h="3595">
                          <a:moveTo>
                            <a:pt x="282" y="0"/>
                          </a:moveTo>
                          <a:lnTo>
                            <a:pt x="282" y="3138"/>
                          </a:lnTo>
                          <a:lnTo>
                            <a:pt x="0" y="3595"/>
                          </a:lnTo>
                          <a:lnTo>
                            <a:pt x="0" y="285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4" name="Rectangle 880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515"/>
                      <a:ext cx="813" cy="899"/>
                    </a:xfrm>
                    <a:prstGeom prst="rect">
                      <a:avLst/>
                    </a:prstGeom>
                    <a:no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5" name="Rectangle 881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857"/>
                      <a:ext cx="228" cy="55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002060"/>
                        </a:gs>
                        <a:gs pos="100000">
                          <a:srgbClr val="1929FF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6" name="Freeform 882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4798" y="1771"/>
                      <a:ext cx="314" cy="86"/>
                    </a:xfrm>
                    <a:custGeom>
                      <a:avLst/>
                      <a:gdLst>
                        <a:gd name="T0" fmla="*/ 411 w 1255"/>
                        <a:gd name="T1" fmla="*/ 0 h 342"/>
                        <a:gd name="T2" fmla="*/ 1255 w 1255"/>
                        <a:gd name="T3" fmla="*/ 0 h 342"/>
                        <a:gd name="T4" fmla="*/ 913 w 1255"/>
                        <a:gd name="T5" fmla="*/ 342 h 342"/>
                        <a:gd name="T6" fmla="*/ 0 w 1255"/>
                        <a:gd name="T7" fmla="*/ 342 h 342"/>
                        <a:gd name="T8" fmla="*/ 411 w 1255"/>
                        <a:gd name="T9" fmla="*/ 0 h 3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55" h="342">
                          <a:moveTo>
                            <a:pt x="411" y="0"/>
                          </a:moveTo>
                          <a:lnTo>
                            <a:pt x="1255" y="0"/>
                          </a:lnTo>
                          <a:lnTo>
                            <a:pt x="913" y="342"/>
                          </a:lnTo>
                          <a:lnTo>
                            <a:pt x="0" y="342"/>
                          </a:lnTo>
                          <a:lnTo>
                            <a:pt x="411" y="0"/>
                          </a:lnTo>
                          <a:close/>
                        </a:path>
                      </a:pathLst>
                    </a:custGeom>
                    <a:solidFill>
                      <a:srgbClr val="0039AC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7" name="Freeform 883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26" y="1771"/>
                      <a:ext cx="85" cy="642"/>
                    </a:xfrm>
                    <a:custGeom>
                      <a:avLst/>
                      <a:gdLst>
                        <a:gd name="T0" fmla="*/ 342 w 342"/>
                        <a:gd name="T1" fmla="*/ 0 h 2568"/>
                        <a:gd name="T2" fmla="*/ 342 w 342"/>
                        <a:gd name="T3" fmla="*/ 2111 h 2568"/>
                        <a:gd name="T4" fmla="*/ 0 w 342"/>
                        <a:gd name="T5" fmla="*/ 2568 h 2568"/>
                        <a:gd name="T6" fmla="*/ 0 w 342"/>
                        <a:gd name="T7" fmla="*/ 342 h 2568"/>
                        <a:gd name="T8" fmla="*/ 342 w 342"/>
                        <a:gd name="T9" fmla="*/ 0 h 25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568">
                          <a:moveTo>
                            <a:pt x="342" y="0"/>
                          </a:moveTo>
                          <a:lnTo>
                            <a:pt x="342" y="2111"/>
                          </a:lnTo>
                          <a:lnTo>
                            <a:pt x="0" y="2568"/>
                          </a:lnTo>
                          <a:lnTo>
                            <a:pt x="0" y="342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000075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8" name="Freeform 884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54" y="1515"/>
                      <a:ext cx="286" cy="72"/>
                    </a:xfrm>
                    <a:custGeom>
                      <a:avLst/>
                      <a:gdLst>
                        <a:gd name="T0" fmla="*/ 318 w 1140"/>
                        <a:gd name="T1" fmla="*/ 0 h 289"/>
                        <a:gd name="T2" fmla="*/ 1140 w 1140"/>
                        <a:gd name="T3" fmla="*/ 0 h 289"/>
                        <a:gd name="T4" fmla="*/ 855 w 1140"/>
                        <a:gd name="T5" fmla="*/ 289 h 289"/>
                        <a:gd name="T6" fmla="*/ 0 w 1140"/>
                        <a:gd name="T7" fmla="*/ 289 h 289"/>
                        <a:gd name="T8" fmla="*/ 318 w 1140"/>
                        <a:gd name="T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40" h="289">
                          <a:moveTo>
                            <a:pt x="318" y="0"/>
                          </a:moveTo>
                          <a:lnTo>
                            <a:pt x="1140" y="0"/>
                          </a:lnTo>
                          <a:lnTo>
                            <a:pt x="855" y="289"/>
                          </a:lnTo>
                          <a:lnTo>
                            <a:pt x="0" y="289"/>
                          </a:lnTo>
                          <a:lnTo>
                            <a:pt x="318" y="0"/>
                          </a:lnTo>
                          <a:close/>
                        </a:path>
                      </a:pathLst>
                    </a:custGeom>
                    <a:solidFill>
                      <a:srgbClr val="EEFF26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9" name="Rectangle 885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054" y="1587"/>
                      <a:ext cx="215" cy="82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FFC000"/>
                        </a:gs>
                        <a:gs pos="100000">
                          <a:srgbClr val="FFFF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40" name="Rectangle 887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298" y="1771"/>
                      <a:ext cx="228" cy="643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B80004"/>
                        </a:gs>
                        <a:gs pos="100000">
                          <a:srgbClr val="FF00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41" name="Freeform 888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526" y="1686"/>
                      <a:ext cx="85" cy="727"/>
                    </a:xfrm>
                    <a:custGeom>
                      <a:avLst/>
                      <a:gdLst>
                        <a:gd name="T0" fmla="*/ 342 w 342"/>
                        <a:gd name="T1" fmla="*/ 0 h 2911"/>
                        <a:gd name="T2" fmla="*/ 342 w 342"/>
                        <a:gd name="T3" fmla="*/ 2477 h 2911"/>
                        <a:gd name="T4" fmla="*/ 0 w 342"/>
                        <a:gd name="T5" fmla="*/ 2911 h 2911"/>
                        <a:gd name="T6" fmla="*/ 0 w 342"/>
                        <a:gd name="T7" fmla="*/ 334 h 2911"/>
                        <a:gd name="T8" fmla="*/ 342 w 342"/>
                        <a:gd name="T9" fmla="*/ 0 h 29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911">
                          <a:moveTo>
                            <a:pt x="342" y="0"/>
                          </a:moveTo>
                          <a:lnTo>
                            <a:pt x="342" y="2477"/>
                          </a:lnTo>
                          <a:lnTo>
                            <a:pt x="0" y="2911"/>
                          </a:lnTo>
                          <a:lnTo>
                            <a:pt x="0" y="334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C2001B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132" name="Vrije vorm 131"/>
                  <p:cNvSpPr/>
                  <p:nvPr userDrawn="1"/>
                </p:nvSpPr>
                <p:spPr>
                  <a:xfrm>
                    <a:off x="11389225" y="1241176"/>
                    <a:ext cx="506025" cy="137883"/>
                  </a:xfrm>
                  <a:custGeom>
                    <a:avLst/>
                    <a:gdLst>
                      <a:gd name="connsiteX0" fmla="*/ 0 w 508407"/>
                      <a:gd name="connsiteY0" fmla="*/ 142646 h 146304"/>
                      <a:gd name="connsiteX1" fmla="*/ 369418 w 508407"/>
                      <a:gd name="connsiteY1" fmla="*/ 146304 h 146304"/>
                      <a:gd name="connsiteX2" fmla="*/ 508407 w 508407"/>
                      <a:gd name="connsiteY2" fmla="*/ 0 h 146304"/>
                      <a:gd name="connsiteX3" fmla="*/ 168250 w 508407"/>
                      <a:gd name="connsiteY3" fmla="*/ 0 h 146304"/>
                      <a:gd name="connsiteX4" fmla="*/ 0 w 508407"/>
                      <a:gd name="connsiteY4" fmla="*/ 142646 h 146304"/>
                      <a:gd name="connsiteX0" fmla="*/ 0 w 508407"/>
                      <a:gd name="connsiteY0" fmla="*/ 142646 h 142646"/>
                      <a:gd name="connsiteX1" fmla="*/ 376562 w 508407"/>
                      <a:gd name="connsiteY1" fmla="*/ 136779 h 142646"/>
                      <a:gd name="connsiteX2" fmla="*/ 508407 w 508407"/>
                      <a:gd name="connsiteY2" fmla="*/ 0 h 142646"/>
                      <a:gd name="connsiteX3" fmla="*/ 168250 w 508407"/>
                      <a:gd name="connsiteY3" fmla="*/ 0 h 142646"/>
                      <a:gd name="connsiteX4" fmla="*/ 0 w 508407"/>
                      <a:gd name="connsiteY4" fmla="*/ 142646 h 142646"/>
                      <a:gd name="connsiteX0" fmla="*/ 0 w 506025"/>
                      <a:gd name="connsiteY0" fmla="*/ 137883 h 137883"/>
                      <a:gd name="connsiteX1" fmla="*/ 374180 w 506025"/>
                      <a:gd name="connsiteY1" fmla="*/ 136779 h 137883"/>
                      <a:gd name="connsiteX2" fmla="*/ 506025 w 506025"/>
                      <a:gd name="connsiteY2" fmla="*/ 0 h 137883"/>
                      <a:gd name="connsiteX3" fmla="*/ 165868 w 506025"/>
                      <a:gd name="connsiteY3" fmla="*/ 0 h 137883"/>
                      <a:gd name="connsiteX4" fmla="*/ 0 w 506025"/>
                      <a:gd name="connsiteY4" fmla="*/ 137883 h 1378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025" h="137883">
                        <a:moveTo>
                          <a:pt x="0" y="137883"/>
                        </a:moveTo>
                        <a:lnTo>
                          <a:pt x="374180" y="136779"/>
                        </a:lnTo>
                        <a:lnTo>
                          <a:pt x="506025" y="0"/>
                        </a:lnTo>
                        <a:lnTo>
                          <a:pt x="165868" y="0"/>
                        </a:lnTo>
                        <a:lnTo>
                          <a:pt x="0" y="137883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  <p:grpSp>
            <p:nvGrpSpPr>
              <p:cNvPr id="113" name="Groep 112"/>
              <p:cNvGrpSpPr/>
              <p:nvPr/>
            </p:nvGrpSpPr>
            <p:grpSpPr>
              <a:xfrm>
                <a:off x="12468521" y="6356844"/>
                <a:ext cx="133446" cy="114786"/>
                <a:chOff x="14587469" y="6356844"/>
                <a:chExt cx="133446" cy="114786"/>
              </a:xfrm>
            </p:grpSpPr>
            <p:sp>
              <p:nvSpPr>
                <p:cNvPr id="119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4588703" y="6379233"/>
                  <a:ext cx="130780" cy="91699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chemeClr val="bg2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0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4587469" y="6423761"/>
                  <a:ext cx="131076" cy="1446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1" name="Freeform 14"/>
                <p:cNvSpPr>
                  <a:spLocks noEditPoints="1"/>
                </p:cNvSpPr>
                <p:nvPr userDrawn="1"/>
              </p:nvSpPr>
              <p:spPr bwMode="auto">
                <a:xfrm>
                  <a:off x="14588901" y="6356844"/>
                  <a:ext cx="132014" cy="114786"/>
                </a:xfrm>
                <a:custGeom>
                  <a:avLst/>
                  <a:gdLst>
                    <a:gd name="T0" fmla="*/ 48 w 5347"/>
                    <a:gd name="T1" fmla="*/ 48 h 4605"/>
                    <a:gd name="T2" fmla="*/ 48 w 5347"/>
                    <a:gd name="T3" fmla="*/ 4557 h 4605"/>
                    <a:gd name="T4" fmla="*/ 5299 w 5347"/>
                    <a:gd name="T5" fmla="*/ 4557 h 4605"/>
                    <a:gd name="T6" fmla="*/ 5299 w 5347"/>
                    <a:gd name="T7" fmla="*/ 48 h 4605"/>
                    <a:gd name="T8" fmla="*/ 48 w 5347"/>
                    <a:gd name="T9" fmla="*/ 48 h 4605"/>
                    <a:gd name="T10" fmla="*/ 0 w 5347"/>
                    <a:gd name="T11" fmla="*/ 0 h 4605"/>
                    <a:gd name="T12" fmla="*/ 5347 w 5347"/>
                    <a:gd name="T13" fmla="*/ 0 h 4605"/>
                    <a:gd name="T14" fmla="*/ 5347 w 5347"/>
                    <a:gd name="T15" fmla="*/ 4605 h 4605"/>
                    <a:gd name="T16" fmla="*/ 0 w 5347"/>
                    <a:gd name="T17" fmla="*/ 4605 h 4605"/>
                    <a:gd name="T18" fmla="*/ 0 w 5347"/>
                    <a:gd name="T19" fmla="*/ 0 h 46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47" h="4605">
                      <a:moveTo>
                        <a:pt x="48" y="48"/>
                      </a:moveTo>
                      <a:lnTo>
                        <a:pt x="48" y="4557"/>
                      </a:lnTo>
                      <a:lnTo>
                        <a:pt x="5299" y="4557"/>
                      </a:lnTo>
                      <a:lnTo>
                        <a:pt x="5299" y="48"/>
                      </a:lnTo>
                      <a:lnTo>
                        <a:pt x="48" y="48"/>
                      </a:lnTo>
                      <a:close/>
                      <a:moveTo>
                        <a:pt x="0" y="0"/>
                      </a:moveTo>
                      <a:lnTo>
                        <a:pt x="5347" y="0"/>
                      </a:lnTo>
                      <a:lnTo>
                        <a:pt x="5347" y="4605"/>
                      </a:lnTo>
                      <a:lnTo>
                        <a:pt x="0" y="460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E5D8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cxnSp>
              <p:nvCxnSpPr>
                <p:cNvPr id="122" name="Rechte verbindingslijn 121"/>
                <p:cNvCxnSpPr/>
                <p:nvPr userDrawn="1"/>
              </p:nvCxnSpPr>
              <p:spPr>
                <a:xfrm flipH="1">
                  <a:off x="14654334" y="6382168"/>
                  <a:ext cx="162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/>
                <p:cNvCxnSpPr/>
                <p:nvPr userDrawn="1"/>
              </p:nvCxnSpPr>
              <p:spPr>
                <a:xfrm>
                  <a:off x="14689188" y="6382168"/>
                  <a:ext cx="0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Rechte verbindingslijn 123"/>
                <p:cNvCxnSpPr/>
                <p:nvPr userDrawn="1"/>
              </p:nvCxnSpPr>
              <p:spPr>
                <a:xfrm>
                  <a:off x="14619892" y="6382040"/>
                  <a:ext cx="0" cy="8577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Rechte verbindingslijn 124"/>
                <p:cNvCxnSpPr/>
                <p:nvPr userDrawn="1"/>
              </p:nvCxnSpPr>
              <p:spPr>
                <a:xfrm flipH="1">
                  <a:off x="14593115" y="6400164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Rechte verbindingslijn 125"/>
                <p:cNvCxnSpPr/>
                <p:nvPr userDrawn="1"/>
              </p:nvCxnSpPr>
              <p:spPr>
                <a:xfrm flipH="1">
                  <a:off x="14593115" y="6423860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Rechte verbindingslijn 126"/>
                <p:cNvCxnSpPr/>
                <p:nvPr userDrawn="1"/>
              </p:nvCxnSpPr>
              <p:spPr>
                <a:xfrm flipH="1">
                  <a:off x="14593115" y="6447556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8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4590283" y="6359138"/>
                  <a:ext cx="128657" cy="19347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192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14" name="Groep 113"/>
              <p:cNvGrpSpPr/>
              <p:nvPr/>
            </p:nvGrpSpPr>
            <p:grpSpPr>
              <a:xfrm>
                <a:off x="12529899" y="6421402"/>
                <a:ext cx="97399" cy="97399"/>
                <a:chOff x="14546483" y="5323041"/>
                <a:chExt cx="242460" cy="242460"/>
              </a:xfrm>
            </p:grpSpPr>
            <p:sp>
              <p:nvSpPr>
                <p:cNvPr id="115" name="Rechthoek 114"/>
                <p:cNvSpPr/>
                <p:nvPr userDrawn="1"/>
              </p:nvSpPr>
              <p:spPr>
                <a:xfrm>
                  <a:off x="14546483" y="5323041"/>
                  <a:ext cx="242460" cy="242460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rgbClr val="00A4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16" name="Groep 115"/>
                <p:cNvGrpSpPr/>
                <p:nvPr/>
              </p:nvGrpSpPr>
              <p:grpSpPr>
                <a:xfrm>
                  <a:off x="14568035" y="5357818"/>
                  <a:ext cx="199836" cy="175226"/>
                  <a:chOff x="14559757" y="5349611"/>
                  <a:chExt cx="216392" cy="191641"/>
                </a:xfrm>
              </p:grpSpPr>
              <p:sp>
                <p:nvSpPr>
                  <p:cNvPr id="117" name="Parallellogram 116"/>
                  <p:cNvSpPr/>
                  <p:nvPr/>
                </p:nvSpPr>
                <p:spPr>
                  <a:xfrm>
                    <a:off x="14559757" y="5369222"/>
                    <a:ext cx="214316" cy="147762"/>
                  </a:xfrm>
                  <a:prstGeom prst="parallelogram">
                    <a:avLst>
                      <a:gd name="adj" fmla="val 93909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dirty="0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18" name="Parallellogram 117"/>
                  <p:cNvSpPr/>
                  <p:nvPr/>
                </p:nvSpPr>
                <p:spPr>
                  <a:xfrm flipH="1">
                    <a:off x="14561833" y="5349611"/>
                    <a:ext cx="214316" cy="191641"/>
                  </a:xfrm>
                  <a:prstGeom prst="parallelogram">
                    <a:avLst>
                      <a:gd name="adj" fmla="val 68946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dirty="0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sp>
          <p:nvSpPr>
            <p:cNvPr id="90" name="Rechthoek 89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RAFIEK INVOEGEN</a:t>
              </a:r>
            </a:p>
          </p:txBody>
        </p:sp>
        <p:sp>
          <p:nvSpPr>
            <p:cNvPr id="91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Klik op het icoon om een grafiek </a:t>
              </a:r>
              <a:b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 te voegen</a:t>
              </a:r>
            </a:p>
          </p:txBody>
        </p:sp>
        <p:sp>
          <p:nvSpPr>
            <p:cNvPr id="92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de grafiek die u wilt </a:t>
              </a:r>
              <a:b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voegen en klik op </a:t>
              </a:r>
              <a:r>
                <a:rPr lang="nl-NL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Invoegen’</a:t>
              </a:r>
            </a:p>
          </p:txBody>
        </p:sp>
        <p:sp>
          <p:nvSpPr>
            <p:cNvPr id="93" name="Ovaal 92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4" name="Ovaal 93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95" name="Rechte verbindingslijn 94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6" name="Rechte verbindingslijn 95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7" name="Rechte verbindingslijn 96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8" name="Tekstvak 33"/>
            <p:cNvSpPr txBox="1"/>
            <p:nvPr/>
          </p:nvSpPr>
          <p:spPr>
            <a:xfrm>
              <a:off x="12479311" y="5259838"/>
              <a:ext cx="2588841" cy="447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de grafiek, klik op de rechter muisknop en kies </a:t>
              </a:r>
              <a:r>
                <a:rPr lang="nl-NL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Gegevens bewerken’</a:t>
              </a:r>
            </a:p>
          </p:txBody>
        </p:sp>
        <p:cxnSp>
          <p:nvCxnSpPr>
            <p:cNvPr id="99" name="Rechte verbindingslijn 98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100" name="Groep 99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04" name="Afgeronde rechthoek 103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/>
              </a:p>
            </p:txBody>
          </p:sp>
          <p:sp>
            <p:nvSpPr>
              <p:cNvPr id="105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/>
                  <a:t>Invoegen</a:t>
                </a:r>
              </a:p>
            </p:txBody>
          </p:sp>
          <p:cxnSp>
            <p:nvCxnSpPr>
              <p:cNvPr id="106" name="Rechte verbindingslijn 105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7" name="Gelijkbenige driehoek 106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/>
              </a:p>
            </p:txBody>
          </p:sp>
        </p:grpSp>
        <p:sp>
          <p:nvSpPr>
            <p:cNvPr id="101" name="Rechthoek 100"/>
            <p:cNvSpPr/>
            <p:nvPr/>
          </p:nvSpPr>
          <p:spPr>
            <a:xfrm>
              <a:off x="12483705" y="4856599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RAFIEK BEWERKEN</a:t>
              </a:r>
            </a:p>
          </p:txBody>
        </p:sp>
        <p:cxnSp>
          <p:nvCxnSpPr>
            <p:cNvPr id="102" name="Rechte verbindingslijn 101"/>
            <p:cNvCxnSpPr/>
            <p:nvPr/>
          </p:nvCxnSpPr>
          <p:spPr>
            <a:xfrm>
              <a:off x="12487778" y="5145063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103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54186" y="6395104"/>
              <a:ext cx="158644" cy="2564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4646F687-CDC4-320B-5BFB-A00F4C71C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2597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Tabel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Publiek</a:t>
            </a:r>
            <a:r>
              <a:rPr lang="en-GB" dirty="0"/>
              <a:t> 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Tekst + Tabel (50%/50%)</a:t>
            </a:r>
            <a:endParaRPr lang="nl-NL" dirty="0"/>
          </a:p>
        </p:txBody>
      </p:sp>
      <p:sp>
        <p:nvSpPr>
          <p:cNvPr id="86" name="Tijdelijke aanduiding voor tabel 13"/>
          <p:cNvSpPr>
            <a:spLocks noGrp="1"/>
          </p:cNvSpPr>
          <p:nvPr>
            <p:ph type="tbl" sz="quarter" idx="15"/>
          </p:nvPr>
        </p:nvSpPr>
        <p:spPr>
          <a:xfrm>
            <a:off x="6159500" y="1092201"/>
            <a:ext cx="5574625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nl-NL"/>
              <a:t>Klik op het pictogram als u een tabel wilt toevoegen</a:t>
            </a:r>
          </a:p>
        </p:txBody>
      </p:sp>
      <p:sp>
        <p:nvSpPr>
          <p:cNvPr id="84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9" y="1092201"/>
            <a:ext cx="5286867" cy="4680000"/>
          </a:xfrm>
        </p:spPr>
        <p:txBody>
          <a:bodyPr vert="horz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grpSp>
        <p:nvGrpSpPr>
          <p:cNvPr id="85" name="Groep 84"/>
          <p:cNvGrpSpPr/>
          <p:nvPr userDrawn="1"/>
        </p:nvGrpSpPr>
        <p:grpSpPr>
          <a:xfrm>
            <a:off x="12850330" y="21157"/>
            <a:ext cx="2609094" cy="4339920"/>
            <a:chOff x="12470972" y="-5444"/>
            <a:chExt cx="2609094" cy="4339920"/>
          </a:xfrm>
        </p:grpSpPr>
        <p:grpSp>
          <p:nvGrpSpPr>
            <p:cNvPr id="87" name="Groep 86"/>
            <p:cNvGrpSpPr/>
            <p:nvPr/>
          </p:nvGrpSpPr>
          <p:grpSpPr>
            <a:xfrm>
              <a:off x="12478620" y="1489205"/>
              <a:ext cx="615489" cy="522454"/>
              <a:chOff x="3793456" y="3603"/>
              <a:chExt cx="4527394" cy="473968"/>
            </a:xfrm>
          </p:grpSpPr>
          <p:grpSp>
            <p:nvGrpSpPr>
              <p:cNvPr id="101" name="Group 4"/>
              <p:cNvGrpSpPr>
                <a:grpSpLocks noChangeAspect="1"/>
              </p:cNvGrpSpPr>
              <p:nvPr userDrawn="1"/>
            </p:nvGrpSpPr>
            <p:grpSpPr bwMode="auto">
              <a:xfrm>
                <a:off x="3793456" y="3603"/>
                <a:ext cx="4526989" cy="473968"/>
                <a:chOff x="1782" y="145"/>
                <a:chExt cx="2674" cy="2270"/>
              </a:xfrm>
            </p:grpSpPr>
            <p:sp>
              <p:nvSpPr>
                <p:cNvPr id="108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807" y="145"/>
                  <a:ext cx="2649" cy="2270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rgbClr val="969696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  <p:sp>
              <p:nvSpPr>
                <p:cNvPr id="109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799" y="145"/>
                  <a:ext cx="2657" cy="439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9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  <p:sp>
              <p:nvSpPr>
                <p:cNvPr id="110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782" y="1469"/>
                  <a:ext cx="2655" cy="29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+mj-lt"/>
                  </a:endParaRPr>
                </a:p>
              </p:txBody>
            </p:sp>
          </p:grpSp>
          <p:cxnSp>
            <p:nvCxnSpPr>
              <p:cNvPr id="102" name="Rechte verbindingslijn 101"/>
              <p:cNvCxnSpPr/>
              <p:nvPr userDrawn="1"/>
            </p:nvCxnSpPr>
            <p:spPr>
              <a:xfrm flipH="1">
                <a:off x="6086136" y="96647"/>
                <a:ext cx="6024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Rechte verbindingslijn 102"/>
              <p:cNvCxnSpPr/>
              <p:nvPr userDrawn="1"/>
            </p:nvCxnSpPr>
            <p:spPr>
              <a:xfrm>
                <a:off x="7281567" y="96647"/>
                <a:ext cx="0" cy="380674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4" name="Rechte verbindingslijn 103"/>
              <p:cNvCxnSpPr/>
              <p:nvPr userDrawn="1"/>
            </p:nvCxnSpPr>
            <p:spPr>
              <a:xfrm>
                <a:off x="4905299" y="96186"/>
                <a:ext cx="0" cy="377505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Rechte verbindingslijn 104"/>
              <p:cNvCxnSpPr/>
              <p:nvPr userDrawn="1"/>
            </p:nvCxnSpPr>
            <p:spPr>
              <a:xfrm flipH="1">
                <a:off x="3836186" y="181242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Rechte verbindingslijn 105"/>
              <p:cNvCxnSpPr/>
              <p:nvPr userDrawn="1"/>
            </p:nvCxnSpPr>
            <p:spPr>
              <a:xfrm flipH="1">
                <a:off x="3836186" y="280466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Rechte verbindingslijn 106"/>
              <p:cNvCxnSpPr/>
              <p:nvPr userDrawn="1"/>
            </p:nvCxnSpPr>
            <p:spPr>
              <a:xfrm flipH="1">
                <a:off x="3836186" y="392407"/>
                <a:ext cx="4484664" cy="0"/>
              </a:xfrm>
              <a:prstGeom prst="line">
                <a:avLst/>
              </a:prstGeom>
              <a:ln w="12700">
                <a:solidFill>
                  <a:srgbClr val="96969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8" name="Rechthoek 87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TABEL INVOEGEN</a:t>
              </a:r>
            </a:p>
          </p:txBody>
        </p:sp>
        <p:sp>
          <p:nvSpPr>
            <p:cNvPr id="89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Klik op het icoon om een tabel </a:t>
              </a:r>
              <a:b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 te voegen</a:t>
              </a:r>
            </a:p>
          </p:txBody>
        </p:sp>
        <p:sp>
          <p:nvSpPr>
            <p:cNvPr id="90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het aantal rijen en kolommen en klik op </a:t>
              </a:r>
              <a:r>
                <a:rPr lang="nl-NL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OK’</a:t>
              </a:r>
            </a:p>
          </p:txBody>
        </p:sp>
        <p:sp>
          <p:nvSpPr>
            <p:cNvPr id="91" name="Ovaal 90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2" name="Ovaal 91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93" name="Rechte verbindingslijn 92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4" name="Rechte verbindingslijn 93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5" name="Rechte verbindingslijn 94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6" name="Groep 95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97" name="Afgeronde rechthoek 96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/>
              </a:p>
            </p:txBody>
          </p:sp>
          <p:sp>
            <p:nvSpPr>
              <p:cNvPr id="98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/>
                  <a:t>OK</a:t>
                </a:r>
              </a:p>
            </p:txBody>
          </p:sp>
          <p:cxnSp>
            <p:nvCxnSpPr>
              <p:cNvPr id="99" name="Rechte verbindingslijn 98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0" name="Gelijkbenige driehoek 99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/>
              </a:p>
            </p:txBody>
          </p:sp>
        </p:grpSp>
      </p:grp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D7AD05F2-E145-E048-B7E2-C713E41857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3667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Grafiek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Publiek</a:t>
            </a:r>
            <a:r>
              <a:rPr lang="en-GB" dirty="0"/>
              <a:t> 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Tekst + Grafiek (50%/50%)</a:t>
            </a:r>
            <a:endParaRPr lang="nl-NL" dirty="0"/>
          </a:p>
        </p:txBody>
      </p:sp>
      <p:sp>
        <p:nvSpPr>
          <p:cNvPr id="85" name="Tijdelijke aanduiding voor grafiek 13"/>
          <p:cNvSpPr>
            <a:spLocks noGrp="1"/>
          </p:cNvSpPr>
          <p:nvPr>
            <p:ph type="chart" sz="quarter" idx="16"/>
          </p:nvPr>
        </p:nvSpPr>
        <p:spPr>
          <a:xfrm>
            <a:off x="6108700" y="1092201"/>
            <a:ext cx="5625426" cy="4680000"/>
          </a:xfrm>
        </p:spPr>
        <p:txBody>
          <a:bodyPr anchor="ctr"/>
          <a:lstStyle>
            <a:lvl1pPr algn="ctr">
              <a:defRPr sz="1800"/>
            </a:lvl1pPr>
          </a:lstStyle>
          <a:p>
            <a:r>
              <a:rPr lang="nl-NL"/>
              <a:t>Klik op het pictogram als u een grafiek wilt toevoegen</a:t>
            </a:r>
          </a:p>
        </p:txBody>
      </p:sp>
      <p:sp>
        <p:nvSpPr>
          <p:cNvPr id="84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9" y="1092201"/>
            <a:ext cx="5265610" cy="4680000"/>
          </a:xfrm>
        </p:spPr>
        <p:txBody>
          <a:bodyPr vert="horz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grpSp>
        <p:nvGrpSpPr>
          <p:cNvPr id="86" name="Groep 85"/>
          <p:cNvGrpSpPr/>
          <p:nvPr userDrawn="1"/>
        </p:nvGrpSpPr>
        <p:grpSpPr>
          <a:xfrm>
            <a:off x="12764736" y="19956"/>
            <a:ext cx="2697278" cy="6868888"/>
            <a:chOff x="12382788" y="-5444"/>
            <a:chExt cx="2697278" cy="6868888"/>
          </a:xfrm>
        </p:grpSpPr>
        <p:grpSp>
          <p:nvGrpSpPr>
            <p:cNvPr id="87" name="Groep 86"/>
            <p:cNvGrpSpPr/>
            <p:nvPr/>
          </p:nvGrpSpPr>
          <p:grpSpPr>
            <a:xfrm>
              <a:off x="12382788" y="1480224"/>
              <a:ext cx="689983" cy="573048"/>
              <a:chOff x="15171969" y="1587338"/>
              <a:chExt cx="755407" cy="627385"/>
            </a:xfrm>
          </p:grpSpPr>
          <p:sp>
            <p:nvSpPr>
              <p:cNvPr id="141" name="Rechthoek 962"/>
              <p:cNvSpPr/>
              <p:nvPr userDrawn="1"/>
            </p:nvSpPr>
            <p:spPr>
              <a:xfrm>
                <a:off x="15171969" y="2008934"/>
                <a:ext cx="755407" cy="205789"/>
              </a:xfrm>
              <a:custGeom>
                <a:avLst/>
                <a:gdLst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664132 w 664132"/>
                  <a:gd name="connsiteY2" fmla="*/ 27778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664132"/>
                  <a:gd name="connsiteY0" fmla="*/ 0 h 290487"/>
                  <a:gd name="connsiteX1" fmla="*/ 664132 w 664132"/>
                  <a:gd name="connsiteY1" fmla="*/ 0 h 290487"/>
                  <a:gd name="connsiteX2" fmla="*/ 333932 w 664132"/>
                  <a:gd name="connsiteY2" fmla="*/ 290487 h 290487"/>
                  <a:gd name="connsiteX3" fmla="*/ 0 w 664132"/>
                  <a:gd name="connsiteY3" fmla="*/ 277787 h 290487"/>
                  <a:gd name="connsiteX4" fmla="*/ 0 w 664132"/>
                  <a:gd name="connsiteY4" fmla="*/ 0 h 290487"/>
                  <a:gd name="connsiteX0" fmla="*/ 0 w 664132"/>
                  <a:gd name="connsiteY0" fmla="*/ 0 h 277787"/>
                  <a:gd name="connsiteX1" fmla="*/ 664132 w 664132"/>
                  <a:gd name="connsiteY1" fmla="*/ 0 h 277787"/>
                  <a:gd name="connsiteX2" fmla="*/ 575232 w 664132"/>
                  <a:gd name="connsiteY2" fmla="*/ 271437 h 277787"/>
                  <a:gd name="connsiteX3" fmla="*/ 0 w 664132"/>
                  <a:gd name="connsiteY3" fmla="*/ 277787 h 277787"/>
                  <a:gd name="connsiteX4" fmla="*/ 0 w 664132"/>
                  <a:gd name="connsiteY4" fmla="*/ 0 h 277787"/>
                  <a:gd name="connsiteX0" fmla="*/ 0 w 708582"/>
                  <a:gd name="connsiteY0" fmla="*/ 0 h 277787"/>
                  <a:gd name="connsiteX1" fmla="*/ 708582 w 708582"/>
                  <a:gd name="connsiteY1" fmla="*/ 31750 h 277787"/>
                  <a:gd name="connsiteX2" fmla="*/ 575232 w 708582"/>
                  <a:gd name="connsiteY2" fmla="*/ 271437 h 277787"/>
                  <a:gd name="connsiteX3" fmla="*/ 0 w 708582"/>
                  <a:gd name="connsiteY3" fmla="*/ 277787 h 277787"/>
                  <a:gd name="connsiteX4" fmla="*/ 0 w 708582"/>
                  <a:gd name="connsiteY4" fmla="*/ 0 h 277787"/>
                  <a:gd name="connsiteX0" fmla="*/ 228600 w 708582"/>
                  <a:gd name="connsiteY0" fmla="*/ 6350 h 246037"/>
                  <a:gd name="connsiteX1" fmla="*/ 708582 w 708582"/>
                  <a:gd name="connsiteY1" fmla="*/ 0 h 246037"/>
                  <a:gd name="connsiteX2" fmla="*/ 575232 w 708582"/>
                  <a:gd name="connsiteY2" fmla="*/ 239687 h 246037"/>
                  <a:gd name="connsiteX3" fmla="*/ 0 w 708582"/>
                  <a:gd name="connsiteY3" fmla="*/ 246037 h 246037"/>
                  <a:gd name="connsiteX4" fmla="*/ 228600 w 708582"/>
                  <a:gd name="connsiteY4" fmla="*/ 6350 h 246037"/>
                  <a:gd name="connsiteX0" fmla="*/ 228600 w 778432"/>
                  <a:gd name="connsiteY0" fmla="*/ 0 h 239687"/>
                  <a:gd name="connsiteX1" fmla="*/ 778432 w 778432"/>
                  <a:gd name="connsiteY1" fmla="*/ 25400 h 239687"/>
                  <a:gd name="connsiteX2" fmla="*/ 575232 w 778432"/>
                  <a:gd name="connsiteY2" fmla="*/ 233337 h 239687"/>
                  <a:gd name="connsiteX3" fmla="*/ 0 w 778432"/>
                  <a:gd name="connsiteY3" fmla="*/ 239687 h 239687"/>
                  <a:gd name="connsiteX4" fmla="*/ 228600 w 778432"/>
                  <a:gd name="connsiteY4" fmla="*/ 0 h 239687"/>
                  <a:gd name="connsiteX0" fmla="*/ 228600 w 778432"/>
                  <a:gd name="connsiteY0" fmla="*/ 0 h 214287"/>
                  <a:gd name="connsiteX1" fmla="*/ 778432 w 778432"/>
                  <a:gd name="connsiteY1" fmla="*/ 0 h 214287"/>
                  <a:gd name="connsiteX2" fmla="*/ 575232 w 778432"/>
                  <a:gd name="connsiteY2" fmla="*/ 207937 h 214287"/>
                  <a:gd name="connsiteX3" fmla="*/ 0 w 778432"/>
                  <a:gd name="connsiteY3" fmla="*/ 214287 h 214287"/>
                  <a:gd name="connsiteX4" fmla="*/ 228600 w 778432"/>
                  <a:gd name="connsiteY4" fmla="*/ 0 h 214287"/>
                  <a:gd name="connsiteX0" fmla="*/ 228600 w 730724"/>
                  <a:gd name="connsiteY0" fmla="*/ 3975 h 218262"/>
                  <a:gd name="connsiteX1" fmla="*/ 730724 w 730724"/>
                  <a:gd name="connsiteY1" fmla="*/ 0 h 218262"/>
                  <a:gd name="connsiteX2" fmla="*/ 575232 w 730724"/>
                  <a:gd name="connsiteY2" fmla="*/ 211912 h 218262"/>
                  <a:gd name="connsiteX3" fmla="*/ 0 w 730724"/>
                  <a:gd name="connsiteY3" fmla="*/ 218262 h 218262"/>
                  <a:gd name="connsiteX4" fmla="*/ 228600 w 730724"/>
                  <a:gd name="connsiteY4" fmla="*/ 3975 h 218262"/>
                  <a:gd name="connsiteX0" fmla="*/ 252454 w 754578"/>
                  <a:gd name="connsiteY0" fmla="*/ 3975 h 211912"/>
                  <a:gd name="connsiteX1" fmla="*/ 754578 w 754578"/>
                  <a:gd name="connsiteY1" fmla="*/ 0 h 211912"/>
                  <a:gd name="connsiteX2" fmla="*/ 599086 w 754578"/>
                  <a:gd name="connsiteY2" fmla="*/ 211912 h 211912"/>
                  <a:gd name="connsiteX3" fmla="*/ 0 w 754578"/>
                  <a:gd name="connsiteY3" fmla="*/ 210311 h 211912"/>
                  <a:gd name="connsiteX4" fmla="*/ 252454 w 754578"/>
                  <a:gd name="connsiteY4" fmla="*/ 3975 h 211912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599086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754578"/>
                  <a:gd name="connsiteY0" fmla="*/ 0 h 223840"/>
                  <a:gd name="connsiteX1" fmla="*/ 754578 w 754578"/>
                  <a:gd name="connsiteY1" fmla="*/ 7952 h 223840"/>
                  <a:gd name="connsiteX2" fmla="*/ 654745 w 754578"/>
                  <a:gd name="connsiteY2" fmla="*/ 223840 h 223840"/>
                  <a:gd name="connsiteX3" fmla="*/ 0 w 754578"/>
                  <a:gd name="connsiteY3" fmla="*/ 218263 h 223840"/>
                  <a:gd name="connsiteX4" fmla="*/ 172941 w 754578"/>
                  <a:gd name="connsiteY4" fmla="*/ 0 h 223840"/>
                  <a:gd name="connsiteX0" fmla="*/ 172941 w 754578"/>
                  <a:gd name="connsiteY0" fmla="*/ 0 h 219864"/>
                  <a:gd name="connsiteX1" fmla="*/ 754578 w 754578"/>
                  <a:gd name="connsiteY1" fmla="*/ 7952 h 219864"/>
                  <a:gd name="connsiteX2" fmla="*/ 646793 w 754578"/>
                  <a:gd name="connsiteY2" fmla="*/ 219864 h 219864"/>
                  <a:gd name="connsiteX3" fmla="*/ 0 w 754578"/>
                  <a:gd name="connsiteY3" fmla="*/ 218263 h 219864"/>
                  <a:gd name="connsiteX4" fmla="*/ 172941 w 754578"/>
                  <a:gd name="connsiteY4" fmla="*/ 0 h 219864"/>
                  <a:gd name="connsiteX0" fmla="*/ 172941 w 818189"/>
                  <a:gd name="connsiteY0" fmla="*/ 0 h 219864"/>
                  <a:gd name="connsiteX1" fmla="*/ 818189 w 818189"/>
                  <a:gd name="connsiteY1" fmla="*/ 31806 h 219864"/>
                  <a:gd name="connsiteX2" fmla="*/ 646793 w 818189"/>
                  <a:gd name="connsiteY2" fmla="*/ 219864 h 219864"/>
                  <a:gd name="connsiteX3" fmla="*/ 0 w 818189"/>
                  <a:gd name="connsiteY3" fmla="*/ 218263 h 219864"/>
                  <a:gd name="connsiteX4" fmla="*/ 172941 w 818189"/>
                  <a:gd name="connsiteY4" fmla="*/ 0 h 219864"/>
                  <a:gd name="connsiteX0" fmla="*/ 172941 w 806262"/>
                  <a:gd name="connsiteY0" fmla="*/ 0 h 219864"/>
                  <a:gd name="connsiteX1" fmla="*/ 806262 w 806262"/>
                  <a:gd name="connsiteY1" fmla="*/ 11928 h 219864"/>
                  <a:gd name="connsiteX2" fmla="*/ 646793 w 806262"/>
                  <a:gd name="connsiteY2" fmla="*/ 219864 h 219864"/>
                  <a:gd name="connsiteX3" fmla="*/ 0 w 806262"/>
                  <a:gd name="connsiteY3" fmla="*/ 218263 h 219864"/>
                  <a:gd name="connsiteX4" fmla="*/ 172941 w 806262"/>
                  <a:gd name="connsiteY4" fmla="*/ 0 h 219864"/>
                  <a:gd name="connsiteX0" fmla="*/ 172941 w 798310"/>
                  <a:gd name="connsiteY0" fmla="*/ 0 h 219864"/>
                  <a:gd name="connsiteX1" fmla="*/ 798310 w 798310"/>
                  <a:gd name="connsiteY1" fmla="*/ 15903 h 219864"/>
                  <a:gd name="connsiteX2" fmla="*/ 646793 w 798310"/>
                  <a:gd name="connsiteY2" fmla="*/ 219864 h 219864"/>
                  <a:gd name="connsiteX3" fmla="*/ 0 w 798310"/>
                  <a:gd name="connsiteY3" fmla="*/ 218263 h 219864"/>
                  <a:gd name="connsiteX4" fmla="*/ 172941 w 798310"/>
                  <a:gd name="connsiteY4" fmla="*/ 0 h 219864"/>
                  <a:gd name="connsiteX0" fmla="*/ 172941 w 798310"/>
                  <a:gd name="connsiteY0" fmla="*/ 0 h 259620"/>
                  <a:gd name="connsiteX1" fmla="*/ 798310 w 798310"/>
                  <a:gd name="connsiteY1" fmla="*/ 15903 h 259620"/>
                  <a:gd name="connsiteX2" fmla="*/ 614988 w 798310"/>
                  <a:gd name="connsiteY2" fmla="*/ 259620 h 259620"/>
                  <a:gd name="connsiteX3" fmla="*/ 0 w 798310"/>
                  <a:gd name="connsiteY3" fmla="*/ 218263 h 259620"/>
                  <a:gd name="connsiteX4" fmla="*/ 172941 w 798310"/>
                  <a:gd name="connsiteY4" fmla="*/ 0 h 259620"/>
                  <a:gd name="connsiteX0" fmla="*/ 188843 w 814212"/>
                  <a:gd name="connsiteY0" fmla="*/ 0 h 259620"/>
                  <a:gd name="connsiteX1" fmla="*/ 814212 w 814212"/>
                  <a:gd name="connsiteY1" fmla="*/ 15903 h 259620"/>
                  <a:gd name="connsiteX2" fmla="*/ 630890 w 814212"/>
                  <a:gd name="connsiteY2" fmla="*/ 259620 h 259620"/>
                  <a:gd name="connsiteX3" fmla="*/ 0 w 814212"/>
                  <a:gd name="connsiteY3" fmla="*/ 254043 h 259620"/>
                  <a:gd name="connsiteX4" fmla="*/ 188843 w 814212"/>
                  <a:gd name="connsiteY4" fmla="*/ 0 h 259620"/>
                  <a:gd name="connsiteX0" fmla="*/ 208721 w 834090"/>
                  <a:gd name="connsiteY0" fmla="*/ 0 h 259620"/>
                  <a:gd name="connsiteX1" fmla="*/ 834090 w 834090"/>
                  <a:gd name="connsiteY1" fmla="*/ 15903 h 259620"/>
                  <a:gd name="connsiteX2" fmla="*/ 650768 w 834090"/>
                  <a:gd name="connsiteY2" fmla="*/ 259620 h 259620"/>
                  <a:gd name="connsiteX3" fmla="*/ 0 w 834090"/>
                  <a:gd name="connsiteY3" fmla="*/ 254043 h 259620"/>
                  <a:gd name="connsiteX4" fmla="*/ 208721 w 834090"/>
                  <a:gd name="connsiteY4" fmla="*/ 0 h 259620"/>
                  <a:gd name="connsiteX0" fmla="*/ 268356 w 893725"/>
                  <a:gd name="connsiteY0" fmla="*/ 0 h 259620"/>
                  <a:gd name="connsiteX1" fmla="*/ 893725 w 893725"/>
                  <a:gd name="connsiteY1" fmla="*/ 15903 h 259620"/>
                  <a:gd name="connsiteX2" fmla="*/ 710403 w 893725"/>
                  <a:gd name="connsiteY2" fmla="*/ 259620 h 259620"/>
                  <a:gd name="connsiteX3" fmla="*/ 0 w 893725"/>
                  <a:gd name="connsiteY3" fmla="*/ 254043 h 259620"/>
                  <a:gd name="connsiteX4" fmla="*/ 268356 w 893725"/>
                  <a:gd name="connsiteY4" fmla="*/ 0 h 259620"/>
                  <a:gd name="connsiteX0" fmla="*/ 260405 w 885774"/>
                  <a:gd name="connsiteY0" fmla="*/ 0 h 259620"/>
                  <a:gd name="connsiteX1" fmla="*/ 885774 w 885774"/>
                  <a:gd name="connsiteY1" fmla="*/ 15903 h 259620"/>
                  <a:gd name="connsiteX2" fmla="*/ 702452 w 885774"/>
                  <a:gd name="connsiteY2" fmla="*/ 259620 h 259620"/>
                  <a:gd name="connsiteX3" fmla="*/ 0 w 885774"/>
                  <a:gd name="connsiteY3" fmla="*/ 254043 h 259620"/>
                  <a:gd name="connsiteX4" fmla="*/ 260405 w 885774"/>
                  <a:gd name="connsiteY4" fmla="*/ 0 h 259620"/>
                  <a:gd name="connsiteX0" fmla="*/ 220648 w 885774"/>
                  <a:gd name="connsiteY0" fmla="*/ 0 h 243717"/>
                  <a:gd name="connsiteX1" fmla="*/ 885774 w 885774"/>
                  <a:gd name="connsiteY1" fmla="*/ 0 h 243717"/>
                  <a:gd name="connsiteX2" fmla="*/ 702452 w 885774"/>
                  <a:gd name="connsiteY2" fmla="*/ 243717 h 243717"/>
                  <a:gd name="connsiteX3" fmla="*/ 0 w 885774"/>
                  <a:gd name="connsiteY3" fmla="*/ 238140 h 243717"/>
                  <a:gd name="connsiteX4" fmla="*/ 220648 w 885774"/>
                  <a:gd name="connsiteY4" fmla="*/ 0 h 243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85774" h="243717">
                    <a:moveTo>
                      <a:pt x="220648" y="0"/>
                    </a:moveTo>
                    <a:lnTo>
                      <a:pt x="885774" y="0"/>
                    </a:lnTo>
                    <a:lnTo>
                      <a:pt x="702452" y="243717"/>
                    </a:lnTo>
                    <a:lnTo>
                      <a:pt x="0" y="238140"/>
                    </a:lnTo>
                    <a:lnTo>
                      <a:pt x="220648" y="0"/>
                    </a:lnTo>
                    <a:close/>
                  </a:path>
                </a:pathLst>
              </a:custGeom>
              <a:solidFill>
                <a:srgbClr val="FFFFFF">
                  <a:lumMod val="50000"/>
                </a:srgbClr>
              </a:solidFill>
              <a:ln w="25400" cap="flat" cmpd="sng" algn="ctr">
                <a:noFill/>
                <a:prstDash val="solid"/>
              </a:ln>
              <a:effectLst>
                <a:softEdge rad="31750"/>
              </a:effectLst>
            </p:spPr>
            <p:txBody>
              <a:bodyPr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600" b="0" i="0" u="none" strike="noStrike" kern="0" cap="none" spc="0" normalizeH="0" baseline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2" name="Groep 141"/>
              <p:cNvGrpSpPr/>
              <p:nvPr userDrawn="1"/>
            </p:nvGrpSpPr>
            <p:grpSpPr>
              <a:xfrm>
                <a:off x="15281106" y="1587338"/>
                <a:ext cx="511775" cy="560304"/>
                <a:chOff x="10604642" y="969717"/>
                <a:chExt cx="1290643" cy="1427163"/>
              </a:xfrm>
            </p:grpSpPr>
            <p:grpSp>
              <p:nvGrpSpPr>
                <p:cNvPr id="143" name="Group 879"/>
                <p:cNvGrpSpPr>
                  <a:grpSpLocks noChangeAspect="1"/>
                </p:cNvGrpSpPr>
                <p:nvPr userDrawn="1"/>
              </p:nvGrpSpPr>
              <p:grpSpPr bwMode="auto">
                <a:xfrm>
                  <a:off x="10604642" y="969717"/>
                  <a:ext cx="1290643" cy="1427163"/>
                  <a:chOff x="4798" y="1515"/>
                  <a:chExt cx="813" cy="899"/>
                </a:xfrm>
              </p:grpSpPr>
              <p:sp>
                <p:nvSpPr>
                  <p:cNvPr id="145" name="Freeform 886"/>
                  <p:cNvSpPr>
                    <a:spLocks/>
                  </p:cNvSpPr>
                  <p:nvPr userDrawn="1"/>
                </p:nvSpPr>
                <p:spPr bwMode="auto">
                  <a:xfrm>
                    <a:off x="5269" y="1515"/>
                    <a:ext cx="71" cy="898"/>
                  </a:xfrm>
                  <a:custGeom>
                    <a:avLst/>
                    <a:gdLst>
                      <a:gd name="T0" fmla="*/ 282 w 282"/>
                      <a:gd name="T1" fmla="*/ 0 h 3595"/>
                      <a:gd name="T2" fmla="*/ 282 w 282"/>
                      <a:gd name="T3" fmla="*/ 3138 h 3595"/>
                      <a:gd name="T4" fmla="*/ 0 w 282"/>
                      <a:gd name="T5" fmla="*/ 3595 h 3595"/>
                      <a:gd name="T6" fmla="*/ 0 w 282"/>
                      <a:gd name="T7" fmla="*/ 285 h 3595"/>
                      <a:gd name="T8" fmla="*/ 282 w 282"/>
                      <a:gd name="T9" fmla="*/ 0 h 359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82" h="3595">
                        <a:moveTo>
                          <a:pt x="282" y="0"/>
                        </a:moveTo>
                        <a:lnTo>
                          <a:pt x="282" y="3138"/>
                        </a:lnTo>
                        <a:lnTo>
                          <a:pt x="0" y="3595"/>
                        </a:lnTo>
                        <a:lnTo>
                          <a:pt x="0" y="285"/>
                        </a:lnTo>
                        <a:lnTo>
                          <a:pt x="282" y="0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6" name="Rectangle 880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515"/>
                    <a:ext cx="813" cy="899"/>
                  </a:xfrm>
                  <a:prstGeom prst="rect">
                    <a:avLst/>
                  </a:prstGeom>
                  <a:noFill/>
                  <a:ln w="0">
                    <a:noFill/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7" name="Rectangle 881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4798" y="1857"/>
                    <a:ext cx="228" cy="55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002060"/>
                      </a:gs>
                      <a:gs pos="100000">
                        <a:srgbClr val="1929FF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8" name="Freeform 882"/>
                  <p:cNvSpPr>
                    <a:spLocks/>
                  </p:cNvSpPr>
                  <p:nvPr userDrawn="1"/>
                </p:nvSpPr>
                <p:spPr bwMode="auto">
                  <a:xfrm>
                    <a:off x="4798" y="1771"/>
                    <a:ext cx="314" cy="86"/>
                  </a:xfrm>
                  <a:custGeom>
                    <a:avLst/>
                    <a:gdLst>
                      <a:gd name="T0" fmla="*/ 411 w 1255"/>
                      <a:gd name="T1" fmla="*/ 0 h 342"/>
                      <a:gd name="T2" fmla="*/ 1255 w 1255"/>
                      <a:gd name="T3" fmla="*/ 0 h 342"/>
                      <a:gd name="T4" fmla="*/ 913 w 1255"/>
                      <a:gd name="T5" fmla="*/ 342 h 342"/>
                      <a:gd name="T6" fmla="*/ 0 w 1255"/>
                      <a:gd name="T7" fmla="*/ 342 h 342"/>
                      <a:gd name="T8" fmla="*/ 411 w 1255"/>
                      <a:gd name="T9" fmla="*/ 0 h 3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255" h="342">
                        <a:moveTo>
                          <a:pt x="411" y="0"/>
                        </a:moveTo>
                        <a:lnTo>
                          <a:pt x="1255" y="0"/>
                        </a:lnTo>
                        <a:lnTo>
                          <a:pt x="913" y="342"/>
                        </a:lnTo>
                        <a:lnTo>
                          <a:pt x="0" y="342"/>
                        </a:lnTo>
                        <a:lnTo>
                          <a:pt x="411" y="0"/>
                        </a:lnTo>
                        <a:close/>
                      </a:path>
                    </a:pathLst>
                  </a:custGeom>
                  <a:solidFill>
                    <a:srgbClr val="0039AC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9" name="Freeform 883"/>
                  <p:cNvSpPr>
                    <a:spLocks/>
                  </p:cNvSpPr>
                  <p:nvPr userDrawn="1"/>
                </p:nvSpPr>
                <p:spPr bwMode="auto">
                  <a:xfrm>
                    <a:off x="5026" y="1771"/>
                    <a:ext cx="85" cy="642"/>
                  </a:xfrm>
                  <a:custGeom>
                    <a:avLst/>
                    <a:gdLst>
                      <a:gd name="T0" fmla="*/ 342 w 342"/>
                      <a:gd name="T1" fmla="*/ 0 h 2568"/>
                      <a:gd name="T2" fmla="*/ 342 w 342"/>
                      <a:gd name="T3" fmla="*/ 2111 h 2568"/>
                      <a:gd name="T4" fmla="*/ 0 w 342"/>
                      <a:gd name="T5" fmla="*/ 2568 h 2568"/>
                      <a:gd name="T6" fmla="*/ 0 w 342"/>
                      <a:gd name="T7" fmla="*/ 342 h 2568"/>
                      <a:gd name="T8" fmla="*/ 342 w 342"/>
                      <a:gd name="T9" fmla="*/ 0 h 25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568">
                        <a:moveTo>
                          <a:pt x="342" y="0"/>
                        </a:moveTo>
                        <a:lnTo>
                          <a:pt x="342" y="2111"/>
                        </a:lnTo>
                        <a:lnTo>
                          <a:pt x="0" y="2568"/>
                        </a:lnTo>
                        <a:lnTo>
                          <a:pt x="0" y="342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000075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0" name="Freeform 884"/>
                  <p:cNvSpPr>
                    <a:spLocks/>
                  </p:cNvSpPr>
                  <p:nvPr userDrawn="1"/>
                </p:nvSpPr>
                <p:spPr bwMode="auto">
                  <a:xfrm>
                    <a:off x="5054" y="1515"/>
                    <a:ext cx="286" cy="72"/>
                  </a:xfrm>
                  <a:custGeom>
                    <a:avLst/>
                    <a:gdLst>
                      <a:gd name="T0" fmla="*/ 318 w 1140"/>
                      <a:gd name="T1" fmla="*/ 0 h 289"/>
                      <a:gd name="T2" fmla="*/ 1140 w 1140"/>
                      <a:gd name="T3" fmla="*/ 0 h 289"/>
                      <a:gd name="T4" fmla="*/ 855 w 1140"/>
                      <a:gd name="T5" fmla="*/ 289 h 289"/>
                      <a:gd name="T6" fmla="*/ 0 w 1140"/>
                      <a:gd name="T7" fmla="*/ 289 h 289"/>
                      <a:gd name="T8" fmla="*/ 318 w 1140"/>
                      <a:gd name="T9" fmla="*/ 0 h 28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140" h="289">
                        <a:moveTo>
                          <a:pt x="318" y="0"/>
                        </a:moveTo>
                        <a:lnTo>
                          <a:pt x="1140" y="0"/>
                        </a:lnTo>
                        <a:lnTo>
                          <a:pt x="855" y="289"/>
                        </a:lnTo>
                        <a:lnTo>
                          <a:pt x="0" y="289"/>
                        </a:lnTo>
                        <a:lnTo>
                          <a:pt x="318" y="0"/>
                        </a:lnTo>
                        <a:close/>
                      </a:path>
                    </a:pathLst>
                  </a:custGeom>
                  <a:solidFill>
                    <a:srgbClr val="EEFF26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1" name="Rectangle 885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054" y="1587"/>
                    <a:ext cx="215" cy="82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FFC000"/>
                      </a:gs>
                      <a:gs pos="100000">
                        <a:srgbClr val="FFFF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2" name="Rectangle 887"/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5298" y="1771"/>
                    <a:ext cx="228" cy="643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B80004"/>
                      </a:gs>
                      <a:gs pos="100000">
                        <a:srgbClr val="FF0000"/>
                      </a:gs>
                    </a:gsLst>
                    <a:lin ang="162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3" name="Freeform 888"/>
                  <p:cNvSpPr>
                    <a:spLocks/>
                  </p:cNvSpPr>
                  <p:nvPr userDrawn="1"/>
                </p:nvSpPr>
                <p:spPr bwMode="auto">
                  <a:xfrm>
                    <a:off x="5526" y="1686"/>
                    <a:ext cx="85" cy="727"/>
                  </a:xfrm>
                  <a:custGeom>
                    <a:avLst/>
                    <a:gdLst>
                      <a:gd name="T0" fmla="*/ 342 w 342"/>
                      <a:gd name="T1" fmla="*/ 0 h 2911"/>
                      <a:gd name="T2" fmla="*/ 342 w 342"/>
                      <a:gd name="T3" fmla="*/ 2477 h 2911"/>
                      <a:gd name="T4" fmla="*/ 0 w 342"/>
                      <a:gd name="T5" fmla="*/ 2911 h 2911"/>
                      <a:gd name="T6" fmla="*/ 0 w 342"/>
                      <a:gd name="T7" fmla="*/ 334 h 2911"/>
                      <a:gd name="T8" fmla="*/ 342 w 342"/>
                      <a:gd name="T9" fmla="*/ 0 h 291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42" h="2911">
                        <a:moveTo>
                          <a:pt x="342" y="0"/>
                        </a:moveTo>
                        <a:lnTo>
                          <a:pt x="342" y="2477"/>
                        </a:lnTo>
                        <a:lnTo>
                          <a:pt x="0" y="2911"/>
                        </a:lnTo>
                        <a:lnTo>
                          <a:pt x="0" y="334"/>
                        </a:lnTo>
                        <a:lnTo>
                          <a:pt x="342" y="0"/>
                        </a:lnTo>
                        <a:close/>
                      </a:path>
                    </a:pathLst>
                  </a:custGeom>
                  <a:solidFill>
                    <a:srgbClr val="C2001B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  <p:sp>
              <p:nvSpPr>
                <p:cNvPr id="144" name="Vrije vorm 143"/>
                <p:cNvSpPr/>
                <p:nvPr userDrawn="1"/>
              </p:nvSpPr>
              <p:spPr>
                <a:xfrm>
                  <a:off x="11389225" y="1241176"/>
                  <a:ext cx="506025" cy="137883"/>
                </a:xfrm>
                <a:custGeom>
                  <a:avLst/>
                  <a:gdLst>
                    <a:gd name="connsiteX0" fmla="*/ 0 w 508407"/>
                    <a:gd name="connsiteY0" fmla="*/ 142646 h 146304"/>
                    <a:gd name="connsiteX1" fmla="*/ 369418 w 508407"/>
                    <a:gd name="connsiteY1" fmla="*/ 146304 h 146304"/>
                    <a:gd name="connsiteX2" fmla="*/ 508407 w 508407"/>
                    <a:gd name="connsiteY2" fmla="*/ 0 h 146304"/>
                    <a:gd name="connsiteX3" fmla="*/ 168250 w 508407"/>
                    <a:gd name="connsiteY3" fmla="*/ 0 h 146304"/>
                    <a:gd name="connsiteX4" fmla="*/ 0 w 508407"/>
                    <a:gd name="connsiteY4" fmla="*/ 142646 h 146304"/>
                    <a:gd name="connsiteX0" fmla="*/ 0 w 508407"/>
                    <a:gd name="connsiteY0" fmla="*/ 142646 h 142646"/>
                    <a:gd name="connsiteX1" fmla="*/ 376562 w 508407"/>
                    <a:gd name="connsiteY1" fmla="*/ 136779 h 142646"/>
                    <a:gd name="connsiteX2" fmla="*/ 508407 w 508407"/>
                    <a:gd name="connsiteY2" fmla="*/ 0 h 142646"/>
                    <a:gd name="connsiteX3" fmla="*/ 168250 w 508407"/>
                    <a:gd name="connsiteY3" fmla="*/ 0 h 142646"/>
                    <a:gd name="connsiteX4" fmla="*/ 0 w 508407"/>
                    <a:gd name="connsiteY4" fmla="*/ 142646 h 142646"/>
                    <a:gd name="connsiteX0" fmla="*/ 0 w 506025"/>
                    <a:gd name="connsiteY0" fmla="*/ 137883 h 137883"/>
                    <a:gd name="connsiteX1" fmla="*/ 374180 w 506025"/>
                    <a:gd name="connsiteY1" fmla="*/ 136779 h 137883"/>
                    <a:gd name="connsiteX2" fmla="*/ 506025 w 506025"/>
                    <a:gd name="connsiteY2" fmla="*/ 0 h 137883"/>
                    <a:gd name="connsiteX3" fmla="*/ 165868 w 506025"/>
                    <a:gd name="connsiteY3" fmla="*/ 0 h 137883"/>
                    <a:gd name="connsiteX4" fmla="*/ 0 w 506025"/>
                    <a:gd name="connsiteY4" fmla="*/ 137883 h 137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6025" h="137883">
                      <a:moveTo>
                        <a:pt x="0" y="137883"/>
                      </a:moveTo>
                      <a:lnTo>
                        <a:pt x="374180" y="136779"/>
                      </a:lnTo>
                      <a:lnTo>
                        <a:pt x="506025" y="0"/>
                      </a:lnTo>
                      <a:lnTo>
                        <a:pt x="165868" y="0"/>
                      </a:lnTo>
                      <a:lnTo>
                        <a:pt x="0" y="137883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88" name="Groep 87"/>
            <p:cNvGrpSpPr/>
            <p:nvPr/>
          </p:nvGrpSpPr>
          <p:grpSpPr>
            <a:xfrm>
              <a:off x="12487778" y="6003628"/>
              <a:ext cx="1980859" cy="542924"/>
              <a:chOff x="12390702" y="6054428"/>
              <a:chExt cx="1980859" cy="542924"/>
            </a:xfrm>
          </p:grpSpPr>
          <p:sp>
            <p:nvSpPr>
              <p:cNvPr id="107" name="Rechthoek 106"/>
              <p:cNvSpPr/>
              <p:nvPr/>
            </p:nvSpPr>
            <p:spPr>
              <a:xfrm>
                <a:off x="12402284" y="6054428"/>
                <a:ext cx="1969277" cy="54292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08" name="Rechthoek 107"/>
              <p:cNvSpPr/>
              <p:nvPr/>
            </p:nvSpPr>
            <p:spPr>
              <a:xfrm>
                <a:off x="12662053" y="6062530"/>
                <a:ext cx="1327608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nl-NL" sz="11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Ander grafiektype…</a:t>
                </a:r>
              </a:p>
            </p:txBody>
          </p:sp>
          <p:sp>
            <p:nvSpPr>
              <p:cNvPr id="109" name="Gelijkbenige driehoek 108"/>
              <p:cNvSpPr/>
              <p:nvPr/>
            </p:nvSpPr>
            <p:spPr>
              <a:xfrm rot="5400000">
                <a:off x="14210471" y="6150144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Segoe UI Light" panose="020B0502040204020203" pitchFamily="34" charset="0"/>
                  <a:ea typeface="Adobe Heiti Std R" panose="020B0400000000000000" pitchFamily="34" charset="-128"/>
                  <a:cs typeface="Segoe UI Light" panose="020B0502040204020203" pitchFamily="34" charset="0"/>
                </a:endParaRPr>
              </a:p>
            </p:txBody>
          </p:sp>
          <p:sp>
            <p:nvSpPr>
              <p:cNvPr id="110" name="Afgeronde rechthoek 109"/>
              <p:cNvSpPr/>
              <p:nvPr/>
            </p:nvSpPr>
            <p:spPr>
              <a:xfrm>
                <a:off x="12390702" y="6322741"/>
                <a:ext cx="1973675" cy="268314"/>
              </a:xfrm>
              <a:prstGeom prst="roundRect">
                <a:avLst/>
              </a:prstGeom>
              <a:gradFill>
                <a:gsLst>
                  <a:gs pos="0">
                    <a:srgbClr val="FFF2BD"/>
                  </a:gs>
                  <a:gs pos="34000">
                    <a:srgbClr val="FFE98B"/>
                  </a:gs>
                  <a:gs pos="78000">
                    <a:srgbClr val="FFF5C9"/>
                  </a:gs>
                  <a:gs pos="59000">
                    <a:srgbClr val="FFE98B"/>
                  </a:gs>
                </a:gsLst>
                <a:lin ang="5400000" scaled="0"/>
              </a:gradFill>
              <a:ln w="63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24000" rtlCol="0" anchor="ctr"/>
              <a:lstStyle/>
              <a:p>
                <a:r>
                  <a:rPr lang="nl-NL" sz="1200" dirty="0">
                    <a:solidFill>
                      <a:schemeClr val="tx1"/>
                    </a:solidFill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rPr>
                  <a:t>Gegevens bewerken…</a:t>
                </a:r>
              </a:p>
            </p:txBody>
          </p:sp>
          <p:grpSp>
            <p:nvGrpSpPr>
              <p:cNvPr id="111" name="Groep 110"/>
              <p:cNvGrpSpPr/>
              <p:nvPr/>
            </p:nvGrpSpPr>
            <p:grpSpPr>
              <a:xfrm>
                <a:off x="12461788" y="6100223"/>
                <a:ext cx="204691" cy="170000"/>
                <a:chOff x="15171969" y="1587338"/>
                <a:chExt cx="755407" cy="627385"/>
              </a:xfrm>
            </p:grpSpPr>
            <p:sp>
              <p:nvSpPr>
                <p:cNvPr id="128" name="Rechthoek 962"/>
                <p:cNvSpPr/>
                <p:nvPr userDrawn="1"/>
              </p:nvSpPr>
              <p:spPr>
                <a:xfrm>
                  <a:off x="15171969" y="2008934"/>
                  <a:ext cx="755407" cy="205789"/>
                </a:xfrm>
                <a:custGeom>
                  <a:avLst/>
                  <a:gdLst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664132 w 664132"/>
                    <a:gd name="connsiteY2" fmla="*/ 27778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664132"/>
                    <a:gd name="connsiteY0" fmla="*/ 0 h 290487"/>
                    <a:gd name="connsiteX1" fmla="*/ 664132 w 664132"/>
                    <a:gd name="connsiteY1" fmla="*/ 0 h 290487"/>
                    <a:gd name="connsiteX2" fmla="*/ 333932 w 664132"/>
                    <a:gd name="connsiteY2" fmla="*/ 290487 h 290487"/>
                    <a:gd name="connsiteX3" fmla="*/ 0 w 664132"/>
                    <a:gd name="connsiteY3" fmla="*/ 277787 h 290487"/>
                    <a:gd name="connsiteX4" fmla="*/ 0 w 664132"/>
                    <a:gd name="connsiteY4" fmla="*/ 0 h 290487"/>
                    <a:gd name="connsiteX0" fmla="*/ 0 w 664132"/>
                    <a:gd name="connsiteY0" fmla="*/ 0 h 277787"/>
                    <a:gd name="connsiteX1" fmla="*/ 664132 w 664132"/>
                    <a:gd name="connsiteY1" fmla="*/ 0 h 277787"/>
                    <a:gd name="connsiteX2" fmla="*/ 575232 w 664132"/>
                    <a:gd name="connsiteY2" fmla="*/ 271437 h 277787"/>
                    <a:gd name="connsiteX3" fmla="*/ 0 w 664132"/>
                    <a:gd name="connsiteY3" fmla="*/ 277787 h 277787"/>
                    <a:gd name="connsiteX4" fmla="*/ 0 w 664132"/>
                    <a:gd name="connsiteY4" fmla="*/ 0 h 277787"/>
                    <a:gd name="connsiteX0" fmla="*/ 0 w 708582"/>
                    <a:gd name="connsiteY0" fmla="*/ 0 h 277787"/>
                    <a:gd name="connsiteX1" fmla="*/ 708582 w 708582"/>
                    <a:gd name="connsiteY1" fmla="*/ 31750 h 277787"/>
                    <a:gd name="connsiteX2" fmla="*/ 575232 w 708582"/>
                    <a:gd name="connsiteY2" fmla="*/ 271437 h 277787"/>
                    <a:gd name="connsiteX3" fmla="*/ 0 w 708582"/>
                    <a:gd name="connsiteY3" fmla="*/ 277787 h 277787"/>
                    <a:gd name="connsiteX4" fmla="*/ 0 w 708582"/>
                    <a:gd name="connsiteY4" fmla="*/ 0 h 277787"/>
                    <a:gd name="connsiteX0" fmla="*/ 228600 w 708582"/>
                    <a:gd name="connsiteY0" fmla="*/ 6350 h 246037"/>
                    <a:gd name="connsiteX1" fmla="*/ 708582 w 708582"/>
                    <a:gd name="connsiteY1" fmla="*/ 0 h 246037"/>
                    <a:gd name="connsiteX2" fmla="*/ 575232 w 708582"/>
                    <a:gd name="connsiteY2" fmla="*/ 239687 h 246037"/>
                    <a:gd name="connsiteX3" fmla="*/ 0 w 708582"/>
                    <a:gd name="connsiteY3" fmla="*/ 246037 h 246037"/>
                    <a:gd name="connsiteX4" fmla="*/ 228600 w 708582"/>
                    <a:gd name="connsiteY4" fmla="*/ 6350 h 246037"/>
                    <a:gd name="connsiteX0" fmla="*/ 228600 w 778432"/>
                    <a:gd name="connsiteY0" fmla="*/ 0 h 239687"/>
                    <a:gd name="connsiteX1" fmla="*/ 778432 w 778432"/>
                    <a:gd name="connsiteY1" fmla="*/ 25400 h 239687"/>
                    <a:gd name="connsiteX2" fmla="*/ 575232 w 778432"/>
                    <a:gd name="connsiteY2" fmla="*/ 233337 h 239687"/>
                    <a:gd name="connsiteX3" fmla="*/ 0 w 778432"/>
                    <a:gd name="connsiteY3" fmla="*/ 239687 h 239687"/>
                    <a:gd name="connsiteX4" fmla="*/ 228600 w 778432"/>
                    <a:gd name="connsiteY4" fmla="*/ 0 h 239687"/>
                    <a:gd name="connsiteX0" fmla="*/ 228600 w 778432"/>
                    <a:gd name="connsiteY0" fmla="*/ 0 h 214287"/>
                    <a:gd name="connsiteX1" fmla="*/ 778432 w 778432"/>
                    <a:gd name="connsiteY1" fmla="*/ 0 h 214287"/>
                    <a:gd name="connsiteX2" fmla="*/ 575232 w 778432"/>
                    <a:gd name="connsiteY2" fmla="*/ 207937 h 214287"/>
                    <a:gd name="connsiteX3" fmla="*/ 0 w 778432"/>
                    <a:gd name="connsiteY3" fmla="*/ 214287 h 214287"/>
                    <a:gd name="connsiteX4" fmla="*/ 228600 w 778432"/>
                    <a:gd name="connsiteY4" fmla="*/ 0 h 214287"/>
                    <a:gd name="connsiteX0" fmla="*/ 228600 w 730724"/>
                    <a:gd name="connsiteY0" fmla="*/ 3975 h 218262"/>
                    <a:gd name="connsiteX1" fmla="*/ 730724 w 730724"/>
                    <a:gd name="connsiteY1" fmla="*/ 0 h 218262"/>
                    <a:gd name="connsiteX2" fmla="*/ 575232 w 730724"/>
                    <a:gd name="connsiteY2" fmla="*/ 211912 h 218262"/>
                    <a:gd name="connsiteX3" fmla="*/ 0 w 730724"/>
                    <a:gd name="connsiteY3" fmla="*/ 218262 h 218262"/>
                    <a:gd name="connsiteX4" fmla="*/ 228600 w 730724"/>
                    <a:gd name="connsiteY4" fmla="*/ 3975 h 218262"/>
                    <a:gd name="connsiteX0" fmla="*/ 252454 w 754578"/>
                    <a:gd name="connsiteY0" fmla="*/ 3975 h 211912"/>
                    <a:gd name="connsiteX1" fmla="*/ 754578 w 754578"/>
                    <a:gd name="connsiteY1" fmla="*/ 0 h 211912"/>
                    <a:gd name="connsiteX2" fmla="*/ 599086 w 754578"/>
                    <a:gd name="connsiteY2" fmla="*/ 211912 h 211912"/>
                    <a:gd name="connsiteX3" fmla="*/ 0 w 754578"/>
                    <a:gd name="connsiteY3" fmla="*/ 210311 h 211912"/>
                    <a:gd name="connsiteX4" fmla="*/ 252454 w 754578"/>
                    <a:gd name="connsiteY4" fmla="*/ 3975 h 211912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599086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754578"/>
                    <a:gd name="connsiteY0" fmla="*/ 0 h 223840"/>
                    <a:gd name="connsiteX1" fmla="*/ 754578 w 754578"/>
                    <a:gd name="connsiteY1" fmla="*/ 7952 h 223840"/>
                    <a:gd name="connsiteX2" fmla="*/ 654745 w 754578"/>
                    <a:gd name="connsiteY2" fmla="*/ 223840 h 223840"/>
                    <a:gd name="connsiteX3" fmla="*/ 0 w 754578"/>
                    <a:gd name="connsiteY3" fmla="*/ 218263 h 223840"/>
                    <a:gd name="connsiteX4" fmla="*/ 172941 w 754578"/>
                    <a:gd name="connsiteY4" fmla="*/ 0 h 223840"/>
                    <a:gd name="connsiteX0" fmla="*/ 172941 w 754578"/>
                    <a:gd name="connsiteY0" fmla="*/ 0 h 219864"/>
                    <a:gd name="connsiteX1" fmla="*/ 754578 w 754578"/>
                    <a:gd name="connsiteY1" fmla="*/ 7952 h 219864"/>
                    <a:gd name="connsiteX2" fmla="*/ 646793 w 754578"/>
                    <a:gd name="connsiteY2" fmla="*/ 219864 h 219864"/>
                    <a:gd name="connsiteX3" fmla="*/ 0 w 754578"/>
                    <a:gd name="connsiteY3" fmla="*/ 218263 h 219864"/>
                    <a:gd name="connsiteX4" fmla="*/ 172941 w 754578"/>
                    <a:gd name="connsiteY4" fmla="*/ 0 h 219864"/>
                    <a:gd name="connsiteX0" fmla="*/ 172941 w 818189"/>
                    <a:gd name="connsiteY0" fmla="*/ 0 h 219864"/>
                    <a:gd name="connsiteX1" fmla="*/ 818189 w 818189"/>
                    <a:gd name="connsiteY1" fmla="*/ 31806 h 219864"/>
                    <a:gd name="connsiteX2" fmla="*/ 646793 w 818189"/>
                    <a:gd name="connsiteY2" fmla="*/ 219864 h 219864"/>
                    <a:gd name="connsiteX3" fmla="*/ 0 w 818189"/>
                    <a:gd name="connsiteY3" fmla="*/ 218263 h 219864"/>
                    <a:gd name="connsiteX4" fmla="*/ 172941 w 818189"/>
                    <a:gd name="connsiteY4" fmla="*/ 0 h 219864"/>
                    <a:gd name="connsiteX0" fmla="*/ 172941 w 806262"/>
                    <a:gd name="connsiteY0" fmla="*/ 0 h 219864"/>
                    <a:gd name="connsiteX1" fmla="*/ 806262 w 806262"/>
                    <a:gd name="connsiteY1" fmla="*/ 11928 h 219864"/>
                    <a:gd name="connsiteX2" fmla="*/ 646793 w 806262"/>
                    <a:gd name="connsiteY2" fmla="*/ 219864 h 219864"/>
                    <a:gd name="connsiteX3" fmla="*/ 0 w 806262"/>
                    <a:gd name="connsiteY3" fmla="*/ 218263 h 219864"/>
                    <a:gd name="connsiteX4" fmla="*/ 172941 w 806262"/>
                    <a:gd name="connsiteY4" fmla="*/ 0 h 219864"/>
                    <a:gd name="connsiteX0" fmla="*/ 172941 w 798310"/>
                    <a:gd name="connsiteY0" fmla="*/ 0 h 219864"/>
                    <a:gd name="connsiteX1" fmla="*/ 798310 w 798310"/>
                    <a:gd name="connsiteY1" fmla="*/ 15903 h 219864"/>
                    <a:gd name="connsiteX2" fmla="*/ 646793 w 798310"/>
                    <a:gd name="connsiteY2" fmla="*/ 219864 h 219864"/>
                    <a:gd name="connsiteX3" fmla="*/ 0 w 798310"/>
                    <a:gd name="connsiteY3" fmla="*/ 218263 h 219864"/>
                    <a:gd name="connsiteX4" fmla="*/ 172941 w 798310"/>
                    <a:gd name="connsiteY4" fmla="*/ 0 h 219864"/>
                    <a:gd name="connsiteX0" fmla="*/ 172941 w 798310"/>
                    <a:gd name="connsiteY0" fmla="*/ 0 h 259620"/>
                    <a:gd name="connsiteX1" fmla="*/ 798310 w 798310"/>
                    <a:gd name="connsiteY1" fmla="*/ 15903 h 259620"/>
                    <a:gd name="connsiteX2" fmla="*/ 614988 w 798310"/>
                    <a:gd name="connsiteY2" fmla="*/ 259620 h 259620"/>
                    <a:gd name="connsiteX3" fmla="*/ 0 w 798310"/>
                    <a:gd name="connsiteY3" fmla="*/ 218263 h 259620"/>
                    <a:gd name="connsiteX4" fmla="*/ 172941 w 798310"/>
                    <a:gd name="connsiteY4" fmla="*/ 0 h 259620"/>
                    <a:gd name="connsiteX0" fmla="*/ 188843 w 814212"/>
                    <a:gd name="connsiteY0" fmla="*/ 0 h 259620"/>
                    <a:gd name="connsiteX1" fmla="*/ 814212 w 814212"/>
                    <a:gd name="connsiteY1" fmla="*/ 15903 h 259620"/>
                    <a:gd name="connsiteX2" fmla="*/ 630890 w 814212"/>
                    <a:gd name="connsiteY2" fmla="*/ 259620 h 259620"/>
                    <a:gd name="connsiteX3" fmla="*/ 0 w 814212"/>
                    <a:gd name="connsiteY3" fmla="*/ 254043 h 259620"/>
                    <a:gd name="connsiteX4" fmla="*/ 188843 w 814212"/>
                    <a:gd name="connsiteY4" fmla="*/ 0 h 259620"/>
                    <a:gd name="connsiteX0" fmla="*/ 208721 w 834090"/>
                    <a:gd name="connsiteY0" fmla="*/ 0 h 259620"/>
                    <a:gd name="connsiteX1" fmla="*/ 834090 w 834090"/>
                    <a:gd name="connsiteY1" fmla="*/ 15903 h 259620"/>
                    <a:gd name="connsiteX2" fmla="*/ 650768 w 834090"/>
                    <a:gd name="connsiteY2" fmla="*/ 259620 h 259620"/>
                    <a:gd name="connsiteX3" fmla="*/ 0 w 834090"/>
                    <a:gd name="connsiteY3" fmla="*/ 254043 h 259620"/>
                    <a:gd name="connsiteX4" fmla="*/ 208721 w 834090"/>
                    <a:gd name="connsiteY4" fmla="*/ 0 h 259620"/>
                    <a:gd name="connsiteX0" fmla="*/ 268356 w 893725"/>
                    <a:gd name="connsiteY0" fmla="*/ 0 h 259620"/>
                    <a:gd name="connsiteX1" fmla="*/ 893725 w 893725"/>
                    <a:gd name="connsiteY1" fmla="*/ 15903 h 259620"/>
                    <a:gd name="connsiteX2" fmla="*/ 710403 w 893725"/>
                    <a:gd name="connsiteY2" fmla="*/ 259620 h 259620"/>
                    <a:gd name="connsiteX3" fmla="*/ 0 w 893725"/>
                    <a:gd name="connsiteY3" fmla="*/ 254043 h 259620"/>
                    <a:gd name="connsiteX4" fmla="*/ 268356 w 893725"/>
                    <a:gd name="connsiteY4" fmla="*/ 0 h 259620"/>
                    <a:gd name="connsiteX0" fmla="*/ 260405 w 885774"/>
                    <a:gd name="connsiteY0" fmla="*/ 0 h 259620"/>
                    <a:gd name="connsiteX1" fmla="*/ 885774 w 885774"/>
                    <a:gd name="connsiteY1" fmla="*/ 15903 h 259620"/>
                    <a:gd name="connsiteX2" fmla="*/ 702452 w 885774"/>
                    <a:gd name="connsiteY2" fmla="*/ 259620 h 259620"/>
                    <a:gd name="connsiteX3" fmla="*/ 0 w 885774"/>
                    <a:gd name="connsiteY3" fmla="*/ 254043 h 259620"/>
                    <a:gd name="connsiteX4" fmla="*/ 260405 w 885774"/>
                    <a:gd name="connsiteY4" fmla="*/ 0 h 259620"/>
                    <a:gd name="connsiteX0" fmla="*/ 220648 w 885774"/>
                    <a:gd name="connsiteY0" fmla="*/ 0 h 243717"/>
                    <a:gd name="connsiteX1" fmla="*/ 885774 w 885774"/>
                    <a:gd name="connsiteY1" fmla="*/ 0 h 243717"/>
                    <a:gd name="connsiteX2" fmla="*/ 702452 w 885774"/>
                    <a:gd name="connsiteY2" fmla="*/ 243717 h 243717"/>
                    <a:gd name="connsiteX3" fmla="*/ 0 w 885774"/>
                    <a:gd name="connsiteY3" fmla="*/ 238140 h 243717"/>
                    <a:gd name="connsiteX4" fmla="*/ 220648 w 885774"/>
                    <a:gd name="connsiteY4" fmla="*/ 0 h 243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85774" h="243717">
                      <a:moveTo>
                        <a:pt x="220648" y="0"/>
                      </a:moveTo>
                      <a:lnTo>
                        <a:pt x="885774" y="0"/>
                      </a:lnTo>
                      <a:lnTo>
                        <a:pt x="702452" y="243717"/>
                      </a:lnTo>
                      <a:lnTo>
                        <a:pt x="0" y="238140"/>
                      </a:lnTo>
                      <a:lnTo>
                        <a:pt x="220648" y="0"/>
                      </a:lnTo>
                      <a:close/>
                    </a:path>
                  </a:pathLst>
                </a:custGeom>
                <a:solidFill>
                  <a:srgbClr val="FFFFFF">
                    <a:lumMod val="50000"/>
                  </a:srgbClr>
                </a:solidFill>
                <a:ln w="25400" cap="flat" cmpd="sng" algn="ctr">
                  <a:noFill/>
                  <a:prstDash val="solid"/>
                </a:ln>
                <a:effectLst>
                  <a:softEdge rad="31750"/>
                </a:effectLst>
              </p:spPr>
              <p:txBody>
                <a:bodyPr rtlCol="0" anchor="ctr"/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5pPr>
                  <a:lvl6pPr marL="22860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6pPr>
                  <a:lvl7pPr marL="27432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7pPr>
                  <a:lvl8pPr marL="32004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8pPr>
                  <a:lvl9pPr marL="3657600" algn="l" defTabSz="914400" rtl="0" eaLnBrk="1" latinLnBrk="0" hangingPunct="1">
                    <a:defRPr kern="1200">
                      <a:solidFill>
                        <a:schemeClr val="tx1"/>
                      </a:solidFill>
                      <a:latin typeface="Arial" charset="0"/>
                      <a:ea typeface="+mn-ea"/>
                      <a:cs typeface="Arial" charset="0"/>
                    </a:defRPr>
                  </a:lvl9pPr>
                </a:lstStyle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600" b="0" i="0" u="none" strike="noStrike" kern="0" cap="none" spc="0" normalizeH="0" baseline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29" name="Groep 128"/>
                <p:cNvGrpSpPr/>
                <p:nvPr userDrawn="1"/>
              </p:nvGrpSpPr>
              <p:grpSpPr>
                <a:xfrm>
                  <a:off x="15281106" y="1587338"/>
                  <a:ext cx="511775" cy="560304"/>
                  <a:chOff x="10604642" y="969717"/>
                  <a:chExt cx="1290643" cy="1427163"/>
                </a:xfrm>
              </p:grpSpPr>
              <p:grpSp>
                <p:nvGrpSpPr>
                  <p:cNvPr id="130" name="Group 879"/>
                  <p:cNvGrpSpPr>
                    <a:grpSpLocks noChangeAspect="1"/>
                  </p:cNvGrpSpPr>
                  <p:nvPr userDrawn="1"/>
                </p:nvGrpSpPr>
                <p:grpSpPr bwMode="auto">
                  <a:xfrm>
                    <a:off x="10604642" y="969717"/>
                    <a:ext cx="1290643" cy="1427163"/>
                    <a:chOff x="4798" y="1515"/>
                    <a:chExt cx="813" cy="899"/>
                  </a:xfrm>
                </p:grpSpPr>
                <p:sp>
                  <p:nvSpPr>
                    <p:cNvPr id="132" name="Freeform 886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269" y="1515"/>
                      <a:ext cx="71" cy="898"/>
                    </a:xfrm>
                    <a:custGeom>
                      <a:avLst/>
                      <a:gdLst>
                        <a:gd name="T0" fmla="*/ 282 w 282"/>
                        <a:gd name="T1" fmla="*/ 0 h 3595"/>
                        <a:gd name="T2" fmla="*/ 282 w 282"/>
                        <a:gd name="T3" fmla="*/ 3138 h 3595"/>
                        <a:gd name="T4" fmla="*/ 0 w 282"/>
                        <a:gd name="T5" fmla="*/ 3595 h 3595"/>
                        <a:gd name="T6" fmla="*/ 0 w 282"/>
                        <a:gd name="T7" fmla="*/ 285 h 3595"/>
                        <a:gd name="T8" fmla="*/ 282 w 282"/>
                        <a:gd name="T9" fmla="*/ 0 h 35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282" h="3595">
                          <a:moveTo>
                            <a:pt x="282" y="0"/>
                          </a:moveTo>
                          <a:lnTo>
                            <a:pt x="282" y="3138"/>
                          </a:lnTo>
                          <a:lnTo>
                            <a:pt x="0" y="3595"/>
                          </a:lnTo>
                          <a:lnTo>
                            <a:pt x="0" y="285"/>
                          </a:lnTo>
                          <a:lnTo>
                            <a:pt x="282" y="0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3" name="Rectangle 880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515"/>
                      <a:ext cx="813" cy="899"/>
                    </a:xfrm>
                    <a:prstGeom prst="rect">
                      <a:avLst/>
                    </a:prstGeom>
                    <a:no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4" name="Rectangle 881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4798" y="1857"/>
                      <a:ext cx="228" cy="55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002060"/>
                        </a:gs>
                        <a:gs pos="100000">
                          <a:srgbClr val="1929FF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5" name="Freeform 882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4798" y="1771"/>
                      <a:ext cx="314" cy="86"/>
                    </a:xfrm>
                    <a:custGeom>
                      <a:avLst/>
                      <a:gdLst>
                        <a:gd name="T0" fmla="*/ 411 w 1255"/>
                        <a:gd name="T1" fmla="*/ 0 h 342"/>
                        <a:gd name="T2" fmla="*/ 1255 w 1255"/>
                        <a:gd name="T3" fmla="*/ 0 h 342"/>
                        <a:gd name="T4" fmla="*/ 913 w 1255"/>
                        <a:gd name="T5" fmla="*/ 342 h 342"/>
                        <a:gd name="T6" fmla="*/ 0 w 1255"/>
                        <a:gd name="T7" fmla="*/ 342 h 342"/>
                        <a:gd name="T8" fmla="*/ 411 w 1255"/>
                        <a:gd name="T9" fmla="*/ 0 h 34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55" h="342">
                          <a:moveTo>
                            <a:pt x="411" y="0"/>
                          </a:moveTo>
                          <a:lnTo>
                            <a:pt x="1255" y="0"/>
                          </a:lnTo>
                          <a:lnTo>
                            <a:pt x="913" y="342"/>
                          </a:lnTo>
                          <a:lnTo>
                            <a:pt x="0" y="342"/>
                          </a:lnTo>
                          <a:lnTo>
                            <a:pt x="411" y="0"/>
                          </a:lnTo>
                          <a:close/>
                        </a:path>
                      </a:pathLst>
                    </a:custGeom>
                    <a:solidFill>
                      <a:srgbClr val="0039AC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6" name="Freeform 883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26" y="1771"/>
                      <a:ext cx="85" cy="642"/>
                    </a:xfrm>
                    <a:custGeom>
                      <a:avLst/>
                      <a:gdLst>
                        <a:gd name="T0" fmla="*/ 342 w 342"/>
                        <a:gd name="T1" fmla="*/ 0 h 2568"/>
                        <a:gd name="T2" fmla="*/ 342 w 342"/>
                        <a:gd name="T3" fmla="*/ 2111 h 2568"/>
                        <a:gd name="T4" fmla="*/ 0 w 342"/>
                        <a:gd name="T5" fmla="*/ 2568 h 2568"/>
                        <a:gd name="T6" fmla="*/ 0 w 342"/>
                        <a:gd name="T7" fmla="*/ 342 h 2568"/>
                        <a:gd name="T8" fmla="*/ 342 w 342"/>
                        <a:gd name="T9" fmla="*/ 0 h 25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568">
                          <a:moveTo>
                            <a:pt x="342" y="0"/>
                          </a:moveTo>
                          <a:lnTo>
                            <a:pt x="342" y="2111"/>
                          </a:lnTo>
                          <a:lnTo>
                            <a:pt x="0" y="2568"/>
                          </a:lnTo>
                          <a:lnTo>
                            <a:pt x="0" y="342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000075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7" name="Freeform 884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054" y="1515"/>
                      <a:ext cx="286" cy="72"/>
                    </a:xfrm>
                    <a:custGeom>
                      <a:avLst/>
                      <a:gdLst>
                        <a:gd name="T0" fmla="*/ 318 w 1140"/>
                        <a:gd name="T1" fmla="*/ 0 h 289"/>
                        <a:gd name="T2" fmla="*/ 1140 w 1140"/>
                        <a:gd name="T3" fmla="*/ 0 h 289"/>
                        <a:gd name="T4" fmla="*/ 855 w 1140"/>
                        <a:gd name="T5" fmla="*/ 289 h 289"/>
                        <a:gd name="T6" fmla="*/ 0 w 1140"/>
                        <a:gd name="T7" fmla="*/ 289 h 289"/>
                        <a:gd name="T8" fmla="*/ 318 w 1140"/>
                        <a:gd name="T9" fmla="*/ 0 h 2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40" h="289">
                          <a:moveTo>
                            <a:pt x="318" y="0"/>
                          </a:moveTo>
                          <a:lnTo>
                            <a:pt x="1140" y="0"/>
                          </a:lnTo>
                          <a:lnTo>
                            <a:pt x="855" y="289"/>
                          </a:lnTo>
                          <a:lnTo>
                            <a:pt x="0" y="289"/>
                          </a:lnTo>
                          <a:lnTo>
                            <a:pt x="318" y="0"/>
                          </a:lnTo>
                          <a:close/>
                        </a:path>
                      </a:pathLst>
                    </a:custGeom>
                    <a:solidFill>
                      <a:srgbClr val="EEFF26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8" name="Rectangle 885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054" y="1587"/>
                      <a:ext cx="215" cy="827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FFC000"/>
                        </a:gs>
                        <a:gs pos="100000">
                          <a:srgbClr val="FFFF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39" name="Rectangle 887"/>
                    <p:cNvSpPr>
                      <a:spLocks noChangeArrowheads="1"/>
                    </p:cNvSpPr>
                    <p:nvPr userDrawn="1"/>
                  </p:nvSpPr>
                  <p:spPr bwMode="auto">
                    <a:xfrm>
                      <a:off x="5298" y="1771"/>
                      <a:ext cx="228" cy="643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B80004"/>
                        </a:gs>
                        <a:gs pos="100000">
                          <a:srgbClr val="FF0000"/>
                        </a:gs>
                      </a:gsLst>
                      <a:lin ang="16200000" scaled="1"/>
                      <a:tileRect/>
                    </a:gradFill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140" name="Freeform 888"/>
                    <p:cNvSpPr>
                      <a:spLocks/>
                    </p:cNvSpPr>
                    <p:nvPr userDrawn="1"/>
                  </p:nvSpPr>
                  <p:spPr bwMode="auto">
                    <a:xfrm>
                      <a:off x="5526" y="1686"/>
                      <a:ext cx="85" cy="727"/>
                    </a:xfrm>
                    <a:custGeom>
                      <a:avLst/>
                      <a:gdLst>
                        <a:gd name="T0" fmla="*/ 342 w 342"/>
                        <a:gd name="T1" fmla="*/ 0 h 2911"/>
                        <a:gd name="T2" fmla="*/ 342 w 342"/>
                        <a:gd name="T3" fmla="*/ 2477 h 2911"/>
                        <a:gd name="T4" fmla="*/ 0 w 342"/>
                        <a:gd name="T5" fmla="*/ 2911 h 2911"/>
                        <a:gd name="T6" fmla="*/ 0 w 342"/>
                        <a:gd name="T7" fmla="*/ 334 h 2911"/>
                        <a:gd name="T8" fmla="*/ 342 w 342"/>
                        <a:gd name="T9" fmla="*/ 0 h 291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342" h="2911">
                          <a:moveTo>
                            <a:pt x="342" y="0"/>
                          </a:moveTo>
                          <a:lnTo>
                            <a:pt x="342" y="2477"/>
                          </a:lnTo>
                          <a:lnTo>
                            <a:pt x="0" y="2911"/>
                          </a:lnTo>
                          <a:lnTo>
                            <a:pt x="0" y="334"/>
                          </a:lnTo>
                          <a:lnTo>
                            <a:pt x="342" y="0"/>
                          </a:lnTo>
                          <a:close/>
                        </a:path>
                      </a:pathLst>
                    </a:custGeom>
                    <a:solidFill>
                      <a:srgbClr val="C2001B"/>
                    </a:solidFill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egoe UI Light" panose="020B0502040204020203" pitchFamily="34" charset="0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  <p:sp>
                <p:nvSpPr>
                  <p:cNvPr id="131" name="Vrije vorm 130"/>
                  <p:cNvSpPr/>
                  <p:nvPr userDrawn="1"/>
                </p:nvSpPr>
                <p:spPr>
                  <a:xfrm>
                    <a:off x="11389225" y="1241176"/>
                    <a:ext cx="506025" cy="137883"/>
                  </a:xfrm>
                  <a:custGeom>
                    <a:avLst/>
                    <a:gdLst>
                      <a:gd name="connsiteX0" fmla="*/ 0 w 508407"/>
                      <a:gd name="connsiteY0" fmla="*/ 142646 h 146304"/>
                      <a:gd name="connsiteX1" fmla="*/ 369418 w 508407"/>
                      <a:gd name="connsiteY1" fmla="*/ 146304 h 146304"/>
                      <a:gd name="connsiteX2" fmla="*/ 508407 w 508407"/>
                      <a:gd name="connsiteY2" fmla="*/ 0 h 146304"/>
                      <a:gd name="connsiteX3" fmla="*/ 168250 w 508407"/>
                      <a:gd name="connsiteY3" fmla="*/ 0 h 146304"/>
                      <a:gd name="connsiteX4" fmla="*/ 0 w 508407"/>
                      <a:gd name="connsiteY4" fmla="*/ 142646 h 146304"/>
                      <a:gd name="connsiteX0" fmla="*/ 0 w 508407"/>
                      <a:gd name="connsiteY0" fmla="*/ 142646 h 142646"/>
                      <a:gd name="connsiteX1" fmla="*/ 376562 w 508407"/>
                      <a:gd name="connsiteY1" fmla="*/ 136779 h 142646"/>
                      <a:gd name="connsiteX2" fmla="*/ 508407 w 508407"/>
                      <a:gd name="connsiteY2" fmla="*/ 0 h 142646"/>
                      <a:gd name="connsiteX3" fmla="*/ 168250 w 508407"/>
                      <a:gd name="connsiteY3" fmla="*/ 0 h 142646"/>
                      <a:gd name="connsiteX4" fmla="*/ 0 w 508407"/>
                      <a:gd name="connsiteY4" fmla="*/ 142646 h 142646"/>
                      <a:gd name="connsiteX0" fmla="*/ 0 w 506025"/>
                      <a:gd name="connsiteY0" fmla="*/ 137883 h 137883"/>
                      <a:gd name="connsiteX1" fmla="*/ 374180 w 506025"/>
                      <a:gd name="connsiteY1" fmla="*/ 136779 h 137883"/>
                      <a:gd name="connsiteX2" fmla="*/ 506025 w 506025"/>
                      <a:gd name="connsiteY2" fmla="*/ 0 h 137883"/>
                      <a:gd name="connsiteX3" fmla="*/ 165868 w 506025"/>
                      <a:gd name="connsiteY3" fmla="*/ 0 h 137883"/>
                      <a:gd name="connsiteX4" fmla="*/ 0 w 506025"/>
                      <a:gd name="connsiteY4" fmla="*/ 137883 h 1378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6025" h="137883">
                        <a:moveTo>
                          <a:pt x="0" y="137883"/>
                        </a:moveTo>
                        <a:lnTo>
                          <a:pt x="374180" y="136779"/>
                        </a:lnTo>
                        <a:lnTo>
                          <a:pt x="506025" y="0"/>
                        </a:lnTo>
                        <a:lnTo>
                          <a:pt x="165868" y="0"/>
                        </a:lnTo>
                        <a:lnTo>
                          <a:pt x="0" y="137883"/>
                        </a:lnTo>
                        <a:close/>
                      </a:path>
                    </a:pathLst>
                  </a:custGeom>
                  <a:solidFill>
                    <a:srgbClr val="C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  <p:grpSp>
            <p:nvGrpSpPr>
              <p:cNvPr id="112" name="Groep 111"/>
              <p:cNvGrpSpPr/>
              <p:nvPr/>
            </p:nvGrpSpPr>
            <p:grpSpPr>
              <a:xfrm>
                <a:off x="12468521" y="6356844"/>
                <a:ext cx="133446" cy="114786"/>
                <a:chOff x="14587469" y="6356844"/>
                <a:chExt cx="133446" cy="114786"/>
              </a:xfrm>
            </p:grpSpPr>
            <p:sp>
              <p:nvSpPr>
                <p:cNvPr id="118" name="Rectangle 6"/>
                <p:cNvSpPr>
                  <a:spLocks noChangeArrowheads="1"/>
                </p:cNvSpPr>
                <p:nvPr userDrawn="1"/>
              </p:nvSpPr>
              <p:spPr bwMode="auto">
                <a:xfrm>
                  <a:off x="14588703" y="6379233"/>
                  <a:ext cx="130780" cy="91699"/>
                </a:xfrm>
                <a:prstGeom prst="rect">
                  <a:avLst/>
                </a:prstGeom>
                <a:solidFill>
                  <a:srgbClr val="F2FAFF"/>
                </a:solidFill>
                <a:ln w="0">
                  <a:solidFill>
                    <a:schemeClr val="bg2">
                      <a:lumMod val="50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19" name="Rectangle 15"/>
                <p:cNvSpPr>
                  <a:spLocks noChangeArrowheads="1"/>
                </p:cNvSpPr>
                <p:nvPr userDrawn="1"/>
              </p:nvSpPr>
              <p:spPr bwMode="auto">
                <a:xfrm>
                  <a:off x="14587469" y="6423761"/>
                  <a:ext cx="131076" cy="1446"/>
                </a:xfrm>
                <a:prstGeom prst="rect">
                  <a:avLst/>
                </a:prstGeom>
                <a:gradFill flip="none" rotWithShape="1">
                  <a:gsLst>
                    <a:gs pos="20000">
                      <a:srgbClr val="0039AC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0" name="Freeform 14"/>
                <p:cNvSpPr>
                  <a:spLocks noEditPoints="1"/>
                </p:cNvSpPr>
                <p:nvPr userDrawn="1"/>
              </p:nvSpPr>
              <p:spPr bwMode="auto">
                <a:xfrm>
                  <a:off x="14588901" y="6356844"/>
                  <a:ext cx="132014" cy="114786"/>
                </a:xfrm>
                <a:custGeom>
                  <a:avLst/>
                  <a:gdLst>
                    <a:gd name="T0" fmla="*/ 48 w 5347"/>
                    <a:gd name="T1" fmla="*/ 48 h 4605"/>
                    <a:gd name="T2" fmla="*/ 48 w 5347"/>
                    <a:gd name="T3" fmla="*/ 4557 h 4605"/>
                    <a:gd name="T4" fmla="*/ 5299 w 5347"/>
                    <a:gd name="T5" fmla="*/ 4557 h 4605"/>
                    <a:gd name="T6" fmla="*/ 5299 w 5347"/>
                    <a:gd name="T7" fmla="*/ 48 h 4605"/>
                    <a:gd name="T8" fmla="*/ 48 w 5347"/>
                    <a:gd name="T9" fmla="*/ 48 h 4605"/>
                    <a:gd name="T10" fmla="*/ 0 w 5347"/>
                    <a:gd name="T11" fmla="*/ 0 h 4605"/>
                    <a:gd name="T12" fmla="*/ 5347 w 5347"/>
                    <a:gd name="T13" fmla="*/ 0 h 4605"/>
                    <a:gd name="T14" fmla="*/ 5347 w 5347"/>
                    <a:gd name="T15" fmla="*/ 4605 h 4605"/>
                    <a:gd name="T16" fmla="*/ 0 w 5347"/>
                    <a:gd name="T17" fmla="*/ 4605 h 4605"/>
                    <a:gd name="T18" fmla="*/ 0 w 5347"/>
                    <a:gd name="T19" fmla="*/ 0 h 46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347" h="4605">
                      <a:moveTo>
                        <a:pt x="48" y="48"/>
                      </a:moveTo>
                      <a:lnTo>
                        <a:pt x="48" y="4557"/>
                      </a:lnTo>
                      <a:lnTo>
                        <a:pt x="5299" y="4557"/>
                      </a:lnTo>
                      <a:lnTo>
                        <a:pt x="5299" y="48"/>
                      </a:lnTo>
                      <a:lnTo>
                        <a:pt x="48" y="48"/>
                      </a:lnTo>
                      <a:close/>
                      <a:moveTo>
                        <a:pt x="0" y="0"/>
                      </a:moveTo>
                      <a:lnTo>
                        <a:pt x="5347" y="0"/>
                      </a:lnTo>
                      <a:lnTo>
                        <a:pt x="5347" y="4605"/>
                      </a:lnTo>
                      <a:lnTo>
                        <a:pt x="0" y="460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E5D88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cxnSp>
              <p:nvCxnSpPr>
                <p:cNvPr id="121" name="Rechte verbindingslijn 120"/>
                <p:cNvCxnSpPr/>
                <p:nvPr userDrawn="1"/>
              </p:nvCxnSpPr>
              <p:spPr>
                <a:xfrm flipH="1">
                  <a:off x="14654334" y="6382168"/>
                  <a:ext cx="162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Rechte verbindingslijn 121"/>
                <p:cNvCxnSpPr/>
                <p:nvPr userDrawn="1"/>
              </p:nvCxnSpPr>
              <p:spPr>
                <a:xfrm>
                  <a:off x="14689188" y="6382168"/>
                  <a:ext cx="0" cy="8649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Rechte verbindingslijn 122"/>
                <p:cNvCxnSpPr/>
                <p:nvPr userDrawn="1"/>
              </p:nvCxnSpPr>
              <p:spPr>
                <a:xfrm>
                  <a:off x="14619892" y="6382040"/>
                  <a:ext cx="0" cy="85778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Rechte verbindingslijn 123"/>
                <p:cNvCxnSpPr/>
                <p:nvPr userDrawn="1"/>
              </p:nvCxnSpPr>
              <p:spPr>
                <a:xfrm flipH="1">
                  <a:off x="14593115" y="6400164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Rechte verbindingslijn 124"/>
                <p:cNvCxnSpPr/>
                <p:nvPr userDrawn="1"/>
              </p:nvCxnSpPr>
              <p:spPr>
                <a:xfrm flipH="1">
                  <a:off x="14593115" y="6423860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Rechte verbindingslijn 125"/>
                <p:cNvCxnSpPr/>
                <p:nvPr userDrawn="1"/>
              </p:nvCxnSpPr>
              <p:spPr>
                <a:xfrm flipH="1">
                  <a:off x="14593115" y="6447556"/>
                  <a:ext cx="121981" cy="0"/>
                </a:xfrm>
                <a:prstGeom prst="line">
                  <a:avLst/>
                </a:prstGeom>
                <a:ln w="3175">
                  <a:solidFill>
                    <a:schemeClr val="bg2">
                      <a:lumMod val="9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7" name="Rectangle 13"/>
                <p:cNvSpPr>
                  <a:spLocks noChangeArrowheads="1"/>
                </p:cNvSpPr>
                <p:nvPr userDrawn="1"/>
              </p:nvSpPr>
              <p:spPr bwMode="auto">
                <a:xfrm>
                  <a:off x="14590283" y="6359138"/>
                  <a:ext cx="128657" cy="19347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1929FF"/>
                    </a:gs>
                    <a:gs pos="100000">
                      <a:srgbClr val="90B6FE"/>
                    </a:gs>
                  </a:gsLst>
                  <a:lin ang="10800000" scaled="1"/>
                  <a:tileRect/>
                </a:gradFill>
                <a:ln w="0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800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13" name="Groep 112"/>
              <p:cNvGrpSpPr/>
              <p:nvPr/>
            </p:nvGrpSpPr>
            <p:grpSpPr>
              <a:xfrm>
                <a:off x="12529899" y="6421402"/>
                <a:ext cx="97399" cy="97399"/>
                <a:chOff x="14546483" y="5323041"/>
                <a:chExt cx="242460" cy="242460"/>
              </a:xfrm>
            </p:grpSpPr>
            <p:sp>
              <p:nvSpPr>
                <p:cNvPr id="114" name="Rechthoek 113"/>
                <p:cNvSpPr/>
                <p:nvPr userDrawn="1"/>
              </p:nvSpPr>
              <p:spPr>
                <a:xfrm>
                  <a:off x="14546483" y="5323041"/>
                  <a:ext cx="242460" cy="242460"/>
                </a:xfrm>
                <a:prstGeom prst="rect">
                  <a:avLst/>
                </a:prstGeom>
                <a:solidFill>
                  <a:schemeClr val="bg1"/>
                </a:solidFill>
                <a:ln w="6350">
                  <a:solidFill>
                    <a:srgbClr val="00A4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dirty="0">
                    <a:latin typeface="Segoe UI Light" panose="020B0502040204020203" pitchFamily="34" charset="0"/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grpSp>
              <p:nvGrpSpPr>
                <p:cNvPr id="115" name="Groep 114"/>
                <p:cNvGrpSpPr/>
                <p:nvPr/>
              </p:nvGrpSpPr>
              <p:grpSpPr>
                <a:xfrm>
                  <a:off x="14568035" y="5357818"/>
                  <a:ext cx="199836" cy="175226"/>
                  <a:chOff x="14559757" y="5349611"/>
                  <a:chExt cx="216392" cy="191641"/>
                </a:xfrm>
              </p:grpSpPr>
              <p:sp>
                <p:nvSpPr>
                  <p:cNvPr id="116" name="Parallellogram 115"/>
                  <p:cNvSpPr/>
                  <p:nvPr/>
                </p:nvSpPr>
                <p:spPr>
                  <a:xfrm>
                    <a:off x="14559757" y="5369222"/>
                    <a:ext cx="214316" cy="147762"/>
                  </a:xfrm>
                  <a:prstGeom prst="parallelogram">
                    <a:avLst>
                      <a:gd name="adj" fmla="val 93909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dirty="0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17" name="Parallellogram 116"/>
                  <p:cNvSpPr/>
                  <p:nvPr/>
                </p:nvSpPr>
                <p:spPr>
                  <a:xfrm flipH="1">
                    <a:off x="14561833" y="5349611"/>
                    <a:ext cx="214316" cy="191641"/>
                  </a:xfrm>
                  <a:prstGeom prst="parallelogram">
                    <a:avLst>
                      <a:gd name="adj" fmla="val 68946"/>
                    </a:avLst>
                  </a:prstGeom>
                  <a:solidFill>
                    <a:srgbClr val="00A4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dirty="0">
                      <a:latin typeface="Segoe UI Light" panose="020B0502040204020203" pitchFamily="34" charset="0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sp>
          <p:nvSpPr>
            <p:cNvPr id="89" name="Rechthoek 88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RAFIEK INVOEGEN</a:t>
              </a:r>
            </a:p>
          </p:txBody>
        </p:sp>
        <p:sp>
          <p:nvSpPr>
            <p:cNvPr id="90" name="Tekstvak 33"/>
            <p:cNvSpPr txBox="1"/>
            <p:nvPr/>
          </p:nvSpPr>
          <p:spPr>
            <a:xfrm>
              <a:off x="12483705" y="974289"/>
              <a:ext cx="2584447" cy="22459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Klik op het icoon om een grafiek </a:t>
              </a:r>
              <a:b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 te voegen</a:t>
              </a:r>
            </a:p>
          </p:txBody>
        </p:sp>
        <p:sp>
          <p:nvSpPr>
            <p:cNvPr id="91" name="Tekstvak 33"/>
            <p:cNvSpPr txBox="1"/>
            <p:nvPr/>
          </p:nvSpPr>
          <p:spPr>
            <a:xfrm>
              <a:off x="12479311" y="3056156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de grafiek die u wilt </a:t>
              </a:r>
              <a:b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</a:b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invoegen en klik op </a:t>
              </a:r>
              <a:r>
                <a:rPr lang="nl-NL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Invoegen’</a:t>
              </a:r>
            </a:p>
          </p:txBody>
        </p:sp>
        <p:sp>
          <p:nvSpPr>
            <p:cNvPr id="92" name="Ovaal 91"/>
            <p:cNvSpPr/>
            <p:nvPr/>
          </p:nvSpPr>
          <p:spPr>
            <a:xfrm>
              <a:off x="12483705" y="491007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3" name="Ovaal 92"/>
            <p:cNvSpPr/>
            <p:nvPr/>
          </p:nvSpPr>
          <p:spPr>
            <a:xfrm>
              <a:off x="12488780" y="2499796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 Light" panose="020B0502040204020203" pitchFamily="34" charset="0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94" name="Rechte verbindingslijn 93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5" name="Rechte verbindingslijn 94"/>
            <p:cNvCxnSpPr/>
            <p:nvPr/>
          </p:nvCxnSpPr>
          <p:spPr>
            <a:xfrm>
              <a:off x="12479311" y="2303362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6" name="Rechte verbindingslijn 95"/>
            <p:cNvCxnSpPr/>
            <p:nvPr/>
          </p:nvCxnSpPr>
          <p:spPr>
            <a:xfrm>
              <a:off x="12470972" y="4334476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7" name="Tekstvak 33"/>
            <p:cNvSpPr txBox="1"/>
            <p:nvPr/>
          </p:nvSpPr>
          <p:spPr>
            <a:xfrm>
              <a:off x="12479311" y="5259838"/>
              <a:ext cx="2588841" cy="447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Selecteer de grafiek, klik op de rechter muisknop en kies </a:t>
              </a:r>
              <a:r>
                <a:rPr lang="nl-NL" sz="1200" b="1" kern="0" dirty="0">
                  <a:latin typeface="Segoe UI Light" panose="020B0502040204020203" pitchFamily="34" charset="0"/>
                  <a:cs typeface="Segoe UI Light" panose="020B0502040204020203" pitchFamily="34" charset="0"/>
                </a:rPr>
                <a:t>‘Gegevens bewerken’</a:t>
              </a:r>
            </a:p>
          </p:txBody>
        </p:sp>
        <p:cxnSp>
          <p:nvCxnSpPr>
            <p:cNvPr id="98" name="Rechte verbindingslijn 97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</a:ln>
            <a:effectLst/>
          </p:spPr>
        </p:cxnSp>
        <p:grpSp>
          <p:nvGrpSpPr>
            <p:cNvPr id="99" name="Groep 98"/>
            <p:cNvGrpSpPr/>
            <p:nvPr/>
          </p:nvGrpSpPr>
          <p:grpSpPr>
            <a:xfrm>
              <a:off x="12483705" y="3745117"/>
              <a:ext cx="1114138" cy="297656"/>
              <a:chOff x="13560784" y="3471416"/>
              <a:chExt cx="1114138" cy="297656"/>
            </a:xfrm>
          </p:grpSpPr>
          <p:sp>
            <p:nvSpPr>
              <p:cNvPr id="103" name="Afgeronde rechthoek 102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/>
              </a:p>
            </p:txBody>
          </p:sp>
          <p:sp>
            <p:nvSpPr>
              <p:cNvPr id="104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/>
                  <a:t>Invoegen</a:t>
                </a:r>
              </a:p>
            </p:txBody>
          </p:sp>
          <p:cxnSp>
            <p:nvCxnSpPr>
              <p:cNvPr id="105" name="Rechte verbindingslijn 104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6" name="Gelijkbenige driehoek 105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/>
              </a:p>
            </p:txBody>
          </p:sp>
        </p:grpSp>
        <p:sp>
          <p:nvSpPr>
            <p:cNvPr id="100" name="Rechthoek 99"/>
            <p:cNvSpPr/>
            <p:nvPr/>
          </p:nvSpPr>
          <p:spPr>
            <a:xfrm>
              <a:off x="12483705" y="4856599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GRAFIEK BEWERKEN</a:t>
              </a:r>
            </a:p>
          </p:txBody>
        </p:sp>
        <p:cxnSp>
          <p:nvCxnSpPr>
            <p:cNvPr id="101" name="Rechte verbindingslijn 100"/>
            <p:cNvCxnSpPr/>
            <p:nvPr/>
          </p:nvCxnSpPr>
          <p:spPr>
            <a:xfrm>
              <a:off x="12487778" y="5145063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102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54186" y="6395104"/>
              <a:ext cx="158644" cy="2564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89020E49-549B-2BCD-B97A-7CB2BC104F8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28484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9918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 hidden="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204" y="0"/>
            <a:ext cx="12131592" cy="68580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84909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4810125" y="4829294"/>
            <a:ext cx="2650189" cy="365125"/>
          </a:xfrm>
        </p:spPr>
        <p:txBody>
          <a:bodyPr/>
          <a:lstStyle/>
          <a:p>
            <a:r>
              <a:rPr lang="nl-NL" noProof="0" dirty="0"/>
              <a:t>Publiek </a:t>
            </a:r>
          </a:p>
        </p:txBody>
      </p: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Titeldia</a:t>
            </a:r>
            <a:endParaRPr lang="nl-NL" dirty="0"/>
          </a:p>
        </p:txBody>
      </p:sp>
      <p:sp>
        <p:nvSpPr>
          <p:cNvPr id="270" name="Rechthoek 269"/>
          <p:cNvSpPr/>
          <p:nvPr userDrawn="1"/>
        </p:nvSpPr>
        <p:spPr>
          <a:xfrm>
            <a:off x="-3174" y="1"/>
            <a:ext cx="12198349" cy="2253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0" name="Titel 1"/>
          <p:cNvSpPr>
            <a:spLocks noGrp="1"/>
          </p:cNvSpPr>
          <p:nvPr>
            <p:ph type="title" hasCustomPrompt="1"/>
          </p:nvPr>
        </p:nvSpPr>
        <p:spPr>
          <a:xfrm>
            <a:off x="4810125" y="2034552"/>
            <a:ext cx="6922949" cy="1548650"/>
          </a:xfrm>
        </p:spPr>
        <p:txBody>
          <a:bodyPr anchor="b"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nl-NL" noProof="0" dirty="0"/>
              <a:t>Titel van deze presentatie</a:t>
            </a:r>
          </a:p>
        </p:txBody>
      </p:sp>
      <p:sp>
        <p:nvSpPr>
          <p:cNvPr id="131" name="Tijdelijke aanduiding voor verticale tekst 2"/>
          <p:cNvSpPr>
            <a:spLocks noGrp="1"/>
          </p:cNvSpPr>
          <p:nvPr>
            <p:ph type="body" orient="vert" idx="1" hasCustomPrompt="1"/>
          </p:nvPr>
        </p:nvSpPr>
        <p:spPr>
          <a:xfrm>
            <a:off x="4810125" y="3570263"/>
            <a:ext cx="6922800" cy="601738"/>
          </a:xfrm>
        </p:spPr>
        <p:txBody>
          <a:bodyPr vert="horz"/>
          <a:lstStyle>
            <a:lvl1pPr>
              <a:defRPr>
                <a:solidFill>
                  <a:srgbClr val="62646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l-NL" noProof="0" dirty="0"/>
              <a:t>Spreker | Plaats</a:t>
            </a:r>
          </a:p>
        </p:txBody>
      </p:sp>
      <p:sp>
        <p:nvSpPr>
          <p:cNvPr id="9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717114" y="44387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rgbClr val="626465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71DAD561-85E0-42F4-D846-A9730BFC5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79184"/>
            <a:ext cx="345304" cy="365125"/>
          </a:xfrm>
        </p:spPr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46280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withEffect">
                                  <p:stCondLst>
                                    <p:cond delay="25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35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grpId="0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3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0" grpId="0"/>
      <p:bldP spid="131" grpId="0">
        <p:tmplLst>
          <p:tmpl>
            <p:tnLst>
              <p:par>
                <p:cTn presetID="22" presetClass="entr" presetSubtype="2" fill="hold" nodeType="withEffect">
                  <p:stCondLst>
                    <p:cond delay="750"/>
                  </p:stCondLst>
                  <p:iterate type="lt">
                    <p:tmPct val="8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right)">
                      <p:cBhvr>
                        <p:cTn dur="350"/>
                        <p:tgtEl>
                          <p:spTgt spid="13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7" y="1092201"/>
            <a:ext cx="11274147" cy="4680000"/>
          </a:xfrm>
        </p:spPr>
        <p:txBody>
          <a:bodyPr vert="horz" anchor="ctr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800"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2pPr>
            <a:lvl3pPr marL="45720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/>
            </a:lvl3pPr>
            <a:lvl4pPr marL="625475" indent="-1809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4pPr>
            <a:lvl5pPr marL="806450" indent="-1809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5pPr>
            <a:lvl6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800"/>
            </a:lvl6pPr>
            <a:lvl7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7pPr>
            <a:lvl8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8pPr>
            <a:lvl9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24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Publiek 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4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lvl="1" indent="-228600" fontAlgn="auto">
                <a:buClr>
                  <a:srgbClr val="656565"/>
                </a:buClr>
                <a:buSzPct val="115000"/>
                <a:buFont typeface="+mj-lt"/>
                <a:buAutoNum type="arabicPeriod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Numeriek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4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4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4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8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5194300" y="-520700"/>
            <a:ext cx="6997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dirty="0"/>
              <a:t>Inhoudsopgav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5AE82E0-902B-8E2D-5260-BC15DB6ACD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22047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eks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7" y="1092201"/>
            <a:ext cx="11274147" cy="4680000"/>
          </a:xfrm>
        </p:spPr>
        <p:txBody>
          <a:bodyPr vert="horz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Publiek </a:t>
            </a:r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5194300" y="-520700"/>
            <a:ext cx="6997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dirty="0"/>
              <a:t>Titel + tekst (100%)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A8FCEBD-0CBC-1C9D-CA07-8A91006680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5371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Afbeelding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8" y="1092201"/>
            <a:ext cx="7742111" cy="4680000"/>
          </a:xfrm>
        </p:spPr>
        <p:txBody>
          <a:bodyPr vert="horz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Publiek 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8585200" y="1092201"/>
            <a:ext cx="31478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dirty="0"/>
              <a:t>Tekst +</a:t>
            </a:r>
            <a:r>
              <a:rPr lang="nl-NL" baseline="0" dirty="0"/>
              <a:t> Afbeelding (75%/25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E78C6B3-7B9D-52B8-86DA-91F15085401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9532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Afbeelding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9" y="1092201"/>
            <a:ext cx="5268770" cy="4680000"/>
          </a:xfrm>
        </p:spPr>
        <p:txBody>
          <a:bodyPr vert="horz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Publiek</a:t>
            </a:r>
            <a:r>
              <a:rPr lang="en-GB" dirty="0"/>
              <a:t> 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6083300" y="1092201"/>
            <a:ext cx="56497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dirty="0"/>
              <a:t>Tekst +</a:t>
            </a:r>
            <a:r>
              <a:rPr lang="nl-NL" baseline="0" dirty="0"/>
              <a:t> Afbeelding (50%/50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2CB293E-720E-345C-0E1C-8553E9519D4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93568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Afbeelding (25%/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8929" y="1092201"/>
            <a:ext cx="2914706" cy="4680000"/>
          </a:xfrm>
        </p:spPr>
        <p:txBody>
          <a:bodyPr vert="horz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Publiek</a:t>
            </a:r>
            <a:r>
              <a:rPr lang="en-GB" dirty="0"/>
              <a:t> 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3695700" y="1092201"/>
            <a:ext cx="80373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dirty="0"/>
              <a:t>Tekst +</a:t>
            </a:r>
            <a:r>
              <a:rPr lang="nl-NL" baseline="0" dirty="0"/>
              <a:t> Afbeelding (25%/75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CE6B12B-2F62-DE86-EC98-424375BCD24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2034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+ Tekst (25%/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987800" y="1092201"/>
            <a:ext cx="7745274" cy="4680000"/>
          </a:xfrm>
        </p:spPr>
        <p:txBody>
          <a:bodyPr vert="horz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Publiek</a:t>
            </a:r>
            <a:r>
              <a:rPr lang="en-GB" dirty="0"/>
              <a:t> 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458927" y="1092201"/>
            <a:ext cx="3147874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Afbeelding + </a:t>
            </a:r>
            <a:r>
              <a:rPr lang="nl-NL" dirty="0"/>
              <a:t>Tekst</a:t>
            </a:r>
            <a:r>
              <a:rPr lang="nl-NL" baseline="0" dirty="0"/>
              <a:t> (25%/75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2509FA6-56C3-717C-0F5D-AD8B609FF62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35630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+ Tekst (50%/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 dirty="0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6451600" y="1092201"/>
            <a:ext cx="5281474" cy="4680000"/>
          </a:xfrm>
        </p:spPr>
        <p:txBody>
          <a:bodyPr vert="horz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err="1"/>
              <a:t>Publiek</a:t>
            </a:r>
            <a:r>
              <a:rPr lang="en-GB" dirty="0"/>
              <a:t> </a:t>
            </a:r>
          </a:p>
        </p:txBody>
      </p:sp>
      <p:sp>
        <p:nvSpPr>
          <p:cNvPr id="7" name="Tijdelijke aanduiding voor afbeelding 2"/>
          <p:cNvSpPr>
            <a:spLocks noGrp="1"/>
          </p:cNvSpPr>
          <p:nvPr>
            <p:ph type="pic" idx="13"/>
          </p:nvPr>
        </p:nvSpPr>
        <p:spPr>
          <a:xfrm>
            <a:off x="458927" y="1092201"/>
            <a:ext cx="5552610" cy="4680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GB" dirty="0"/>
          </a:p>
        </p:txBody>
      </p:sp>
      <p:grpSp>
        <p:nvGrpSpPr>
          <p:cNvPr id="8" name="Groep 7"/>
          <p:cNvGrpSpPr/>
          <p:nvPr userDrawn="1"/>
        </p:nvGrpSpPr>
        <p:grpSpPr>
          <a:xfrm>
            <a:off x="-3252208" y="19956"/>
            <a:ext cx="2589956" cy="5234644"/>
            <a:chOff x="-3252208" y="19956"/>
            <a:chExt cx="2589956" cy="5234644"/>
          </a:xfrm>
        </p:grpSpPr>
        <p:sp>
          <p:nvSpPr>
            <p:cNvPr id="9" name="Rechthoek 8"/>
            <p:cNvSpPr/>
            <p:nvPr userDrawn="1"/>
          </p:nvSpPr>
          <p:spPr>
            <a:xfrm>
              <a:off x="-3247975" y="19956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TEKST</a:t>
              </a:r>
              <a:r>
                <a:rPr kumimoji="0" lang="nl-NL" sz="1600" b="1" i="0" u="none" strike="noStrike" kern="0" cap="none" spc="0" normalizeH="0" noProof="0" dirty="0">
                  <a:ln>
                    <a:noFill/>
                  </a:ln>
                  <a:solidFill>
                    <a:srgbClr val="3560AB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 NIVEAUS</a:t>
              </a:r>
              <a:endParaRPr kumimoji="0" lang="nl-NL" sz="1600" b="1" i="0" u="none" strike="noStrike" kern="0" cap="none" spc="0" normalizeH="0" baseline="0" noProof="0" dirty="0">
                <a:ln>
                  <a:noFill/>
                </a:ln>
                <a:solidFill>
                  <a:srgbClr val="3560AB"/>
                </a:solidFill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10" name="Textfield placeholder"/>
            <p:cNvSpPr txBox="1">
              <a:spLocks/>
            </p:cNvSpPr>
            <p:nvPr userDrawn="1"/>
          </p:nvSpPr>
          <p:spPr>
            <a:xfrm>
              <a:off x="-2828786" y="4856425"/>
              <a:ext cx="2163600" cy="186542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44500" marR="0" lvl="0" indent="-176213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rde bullets  (20 pt.)</a:t>
              </a:r>
            </a:p>
          </p:txBody>
        </p:sp>
        <p:sp>
          <p:nvSpPr>
            <p:cNvPr id="11" name="Ovaal 10"/>
            <p:cNvSpPr/>
            <p:nvPr userDrawn="1"/>
          </p:nvSpPr>
          <p:spPr>
            <a:xfrm>
              <a:off x="-3236784" y="308087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12" name="Ovaal 11"/>
            <p:cNvSpPr/>
            <p:nvPr userDrawn="1"/>
          </p:nvSpPr>
          <p:spPr>
            <a:xfrm>
              <a:off x="-3236784" y="351562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sp>
          <p:nvSpPr>
            <p:cNvPr id="13" name="Ovaal 12"/>
            <p:cNvSpPr/>
            <p:nvPr userDrawn="1"/>
          </p:nvSpPr>
          <p:spPr>
            <a:xfrm>
              <a:off x="-3236784" y="395036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sp>
          <p:nvSpPr>
            <p:cNvPr id="14" name="Ovaal 13"/>
            <p:cNvSpPr/>
            <p:nvPr userDrawn="1"/>
          </p:nvSpPr>
          <p:spPr>
            <a:xfrm>
              <a:off x="-3236784" y="4385110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4</a:t>
              </a:r>
            </a:p>
          </p:txBody>
        </p:sp>
        <p:sp>
          <p:nvSpPr>
            <p:cNvPr id="15" name="Textfield placeholder"/>
            <p:cNvSpPr txBox="1">
              <a:spLocks/>
            </p:cNvSpPr>
            <p:nvPr userDrawn="1"/>
          </p:nvSpPr>
          <p:spPr>
            <a:xfrm>
              <a:off x="-2828786" y="3977121"/>
              <a:ext cx="2163600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7800" lvl="1" indent="-177800" fontAlgn="auto">
                <a:buClr>
                  <a:srgbClr val="656565"/>
                </a:buClr>
                <a:buSzPct val="115000"/>
                <a:buFont typeface="Arial" pitchFamily="34" charset="0"/>
                <a:buChar char="•"/>
                <a:defRPr/>
              </a:pP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Eerste</a:t>
              </a:r>
              <a:r>
                <a:rPr lang="nl-NL" sz="1200" baseline="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bullets </a:t>
              </a:r>
              <a:r>
                <a:rPr lang="nl-NL" sz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 (20 pt.)</a:t>
              </a:r>
            </a:p>
          </p:txBody>
        </p:sp>
        <p:sp>
          <p:nvSpPr>
            <p:cNvPr id="16" name="Textfield placeholder"/>
            <p:cNvSpPr txBox="1">
              <a:spLocks/>
            </p:cNvSpPr>
            <p:nvPr userDrawn="1"/>
          </p:nvSpPr>
          <p:spPr>
            <a:xfrm>
              <a:off x="-2828786" y="4427061"/>
              <a:ext cx="2163600" cy="240925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lvl="1" indent="-1778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rgbClr val="656565"/>
                </a:buClr>
                <a:buSzPct val="115000"/>
                <a:buFont typeface="Arial" pitchFamily="34" charset="0"/>
                <a:buChar char="•"/>
                <a:tabLst/>
                <a:defRPr/>
              </a:pPr>
              <a:r>
                <a:rPr lang="nl-NL" sz="1200" kern="1200" dirty="0">
                  <a:solidFill>
                    <a:srgbClr val="656565"/>
                  </a:solidFill>
                  <a:latin typeface="+mj-lt"/>
                  <a:ea typeface="Open Sans" pitchFamily="34" charset="0"/>
                  <a:cs typeface="Open Sans" pitchFamily="34" charset="0"/>
                </a:rPr>
                <a:t>Tweede bullets (20 pt.)</a:t>
              </a:r>
            </a:p>
          </p:txBody>
        </p:sp>
        <p:cxnSp>
          <p:nvCxnSpPr>
            <p:cNvPr id="17" name="Rechte verbindingslijn 16"/>
            <p:cNvCxnSpPr/>
            <p:nvPr userDrawn="1"/>
          </p:nvCxnSpPr>
          <p:spPr>
            <a:xfrm>
              <a:off x="-3245395" y="300300"/>
              <a:ext cx="2569889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" name="Rechte verbindingslijn 17"/>
            <p:cNvCxnSpPr/>
            <p:nvPr userDrawn="1"/>
          </p:nvCxnSpPr>
          <p:spPr>
            <a:xfrm>
              <a:off x="-3245395" y="2905813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9" name="Rechte verbindingslijn 18"/>
            <p:cNvCxnSpPr/>
            <p:nvPr userDrawn="1"/>
          </p:nvCxnSpPr>
          <p:spPr>
            <a:xfrm>
              <a:off x="-3245395" y="5254600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0" name="Groep 19"/>
            <p:cNvGrpSpPr/>
            <p:nvPr userDrawn="1"/>
          </p:nvGrpSpPr>
          <p:grpSpPr>
            <a:xfrm>
              <a:off x="-2339352" y="1833663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/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71" name="Groep 70"/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/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3" name="Rechthoek 72"/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4" name="Rechthoek 73"/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5" name="Rechthoek 74"/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6" name="Rechthoek 75"/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7" name="Rechthoek 76"/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8" name="Rechthoek 77"/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79" name="Rechthoek 78"/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0" name="Rechthoek 79"/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1" name="Rechthoek 80"/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82" name="Vrije vorm 81"/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grpSp>
          <p:nvGrpSpPr>
            <p:cNvPr id="21" name="Groep 20"/>
            <p:cNvGrpSpPr/>
            <p:nvPr/>
          </p:nvGrpSpPr>
          <p:grpSpPr>
            <a:xfrm>
              <a:off x="-3252208" y="2224757"/>
              <a:ext cx="532929" cy="509563"/>
              <a:chOff x="-2880382" y="802341"/>
              <a:chExt cx="532929" cy="509563"/>
            </a:xfrm>
          </p:grpSpPr>
          <p:sp>
            <p:nvSpPr>
              <p:cNvPr id="48" name="Rechthoek 47"/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pic>
            <p:nvPicPr>
              <p:cNvPr id="4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1" name="Groep 50"/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/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6" name="Rechthoek 65"/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7" name="Rechthoek 66"/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8" name="Rechthoek 67"/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69" name="Rechthoek 68"/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grpSp>
            <p:nvGrpSpPr>
              <p:cNvPr id="52" name="Groep 51"/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3" name="Groep 52"/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1" name="Rechthoek 60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2" name="Rechthoek 61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3" name="Rechthoek 62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64" name="Rechthoek 63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  <p:grpSp>
              <p:nvGrpSpPr>
                <p:cNvPr id="54" name="Groep 53"/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/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6" name="Rechthoek 55"/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7" name="Rechthoek 56"/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8" name="Rechthoek 57"/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  <p:sp>
                <p:nvSpPr>
                  <p:cNvPr id="59" name="Rechthoek 58"/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accent1"/>
                      </a:solidFill>
                      <a:effectLst/>
                      <a:uLnTx/>
                      <a:uFillTx/>
                      <a:latin typeface="Open Sans Light" pitchFamily="34" charset="0"/>
                      <a:ea typeface="Open Sans Light" pitchFamily="34" charset="0"/>
                      <a:cs typeface="Open Sans Light" pitchFamily="34" charset="0"/>
                    </a:endParaRPr>
                  </a:p>
                </p:txBody>
              </p:sp>
            </p:grpSp>
          </p:grpSp>
        </p:grpSp>
        <p:grpSp>
          <p:nvGrpSpPr>
            <p:cNvPr id="22" name="Groep 21"/>
            <p:cNvGrpSpPr/>
            <p:nvPr userDrawn="1"/>
          </p:nvGrpSpPr>
          <p:grpSpPr>
            <a:xfrm>
              <a:off x="-2339352" y="2298086"/>
              <a:ext cx="413704" cy="427699"/>
              <a:chOff x="-1845083" y="758027"/>
              <a:chExt cx="633799" cy="622540"/>
            </a:xfrm>
          </p:grpSpPr>
          <p:sp>
            <p:nvSpPr>
              <p:cNvPr id="35" name="Afgeronde rechthoek 34"/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bg2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grpSp>
            <p:nvGrpSpPr>
              <p:cNvPr id="36" name="Groep 35"/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7" name="Rechthoek 36"/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8" name="Rechthoek 37"/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39" name="Rechthoek 38"/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0" name="Rechthoek 39"/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1" name="Rechthoek 40"/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2" name="Rechthoek 41"/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3" name="Rechthoek 42"/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4" name="Rechthoek 43"/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5" name="Rechthoek 44"/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6" name="Rechthoek 45"/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47" name="Vrije vorm 46"/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</p:grpSp>
        <p:cxnSp>
          <p:nvCxnSpPr>
            <p:cNvPr id="23" name="Rechte verbindingslijn 22"/>
            <p:cNvCxnSpPr>
              <a:endCxn id="35" idx="1"/>
            </p:cNvCxnSpPr>
            <p:nvPr userDrawn="1"/>
          </p:nvCxnSpPr>
          <p:spPr>
            <a:xfrm>
              <a:off x="-3060802" y="2403144"/>
              <a:ext cx="721450" cy="108792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cxnSp>
          <p:nvCxnSpPr>
            <p:cNvPr id="24" name="Rechte verbindingslijn 23"/>
            <p:cNvCxnSpPr>
              <a:endCxn id="70" idx="1"/>
            </p:cNvCxnSpPr>
            <p:nvPr userDrawn="1"/>
          </p:nvCxnSpPr>
          <p:spPr>
            <a:xfrm flipV="1">
              <a:off x="-2844778" y="2047513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headEnd type="oval"/>
            </a:ln>
            <a:effectLst/>
          </p:spPr>
        </p:cxnSp>
        <p:sp>
          <p:nvSpPr>
            <p:cNvPr id="25" name="Textfield placeholder"/>
            <p:cNvSpPr txBox="1">
              <a:spLocks/>
            </p:cNvSpPr>
            <p:nvPr userDrawn="1"/>
          </p:nvSpPr>
          <p:spPr>
            <a:xfrm>
              <a:off x="-1732474" y="1833665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lang="nl-NL" sz="120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hoo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Open Sans Light" pitchFamily="34" charset="0"/>
                <a:ea typeface="Open Sans Light" pitchFamily="34" charset="0"/>
                <a:cs typeface="Open Sans Light" pitchFamily="34" charset="0"/>
              </a:endParaRPr>
            </a:p>
          </p:txBody>
        </p:sp>
        <p:sp>
          <p:nvSpPr>
            <p:cNvPr id="26" name="Textfield placeholder"/>
            <p:cNvSpPr txBox="1">
              <a:spLocks/>
            </p:cNvSpPr>
            <p:nvPr userDrawn="1"/>
          </p:nvSpPr>
          <p:spPr>
            <a:xfrm>
              <a:off x="-1732475" y="2298086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Niveau omlaag</a:t>
              </a:r>
            </a:p>
          </p:txBody>
        </p:sp>
        <p:sp>
          <p:nvSpPr>
            <p:cNvPr id="27" name="Ovaal 26"/>
            <p:cNvSpPr/>
            <p:nvPr userDrawn="1"/>
          </p:nvSpPr>
          <p:spPr>
            <a:xfrm>
              <a:off x="-3236784" y="4819855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5</a:t>
              </a:r>
            </a:p>
          </p:txBody>
        </p:sp>
        <p:grpSp>
          <p:nvGrpSpPr>
            <p:cNvPr id="28" name="Groep 27"/>
            <p:cNvGrpSpPr/>
            <p:nvPr/>
          </p:nvGrpSpPr>
          <p:grpSpPr>
            <a:xfrm>
              <a:off x="-3252208" y="1832972"/>
              <a:ext cx="528695" cy="344202"/>
              <a:chOff x="-2880382" y="410556"/>
              <a:chExt cx="528695" cy="344202"/>
            </a:xfrm>
          </p:grpSpPr>
          <p:sp>
            <p:nvSpPr>
              <p:cNvPr id="33" name="Afgeronde rechthoek 32"/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34" name="Vrije vorm 33"/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900" dirty="0">
                    <a:solidFill>
                      <a:schemeClr val="tx1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Start</a:t>
                </a:r>
              </a:p>
            </p:txBody>
          </p:sp>
        </p:grpSp>
        <p:sp>
          <p:nvSpPr>
            <p:cNvPr id="29" name="Textfield placeholder"/>
            <p:cNvSpPr txBox="1">
              <a:spLocks/>
            </p:cNvSpPr>
            <p:nvPr/>
          </p:nvSpPr>
          <p:spPr>
            <a:xfrm>
              <a:off x="-2828786" y="3528998"/>
              <a:ext cx="2163600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Uitgebreide tekst (20 pt.) </a:t>
              </a:r>
            </a:p>
          </p:txBody>
        </p:sp>
        <p:sp>
          <p:nvSpPr>
            <p:cNvPr id="30" name="Textfield placeholder"/>
            <p:cNvSpPr txBox="1">
              <a:spLocks/>
            </p:cNvSpPr>
            <p:nvPr userDrawn="1"/>
          </p:nvSpPr>
          <p:spPr>
            <a:xfrm>
              <a:off x="-2828786" y="3080875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656565"/>
                  </a:solidFill>
                  <a:effectLst/>
                  <a:uLnTx/>
                  <a:uFillTx/>
                  <a:latin typeface="+mj-lt"/>
                  <a:ea typeface="Open Sans" pitchFamily="34" charset="0"/>
                  <a:cs typeface="Open Sans" pitchFamily="34" charset="0"/>
                </a:rPr>
                <a:t>Kop 1 (24 pt.)</a:t>
              </a:r>
            </a:p>
          </p:txBody>
        </p:sp>
        <p:sp>
          <p:nvSpPr>
            <p:cNvPr id="31" name="Textfield placeholder"/>
            <p:cNvSpPr txBox="1">
              <a:spLocks/>
            </p:cNvSpPr>
            <p:nvPr userDrawn="1"/>
          </p:nvSpPr>
          <p:spPr>
            <a:xfrm>
              <a:off x="-3245395" y="407003"/>
              <a:ext cx="2569889" cy="42769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Ga naar de tab ‘Start’ 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Hier vind je 2 knopjes zoals onderstaande afbeelding.</a:t>
              </a:r>
            </a:p>
            <a:p>
              <a:pPr marL="0" marR="0" lvl="0" indent="0" algn="l" defTabSz="1087016" rtl="0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.m.v. deze knopjes kun je eenvoudig tussen tekstniveaus wisselen.</a:t>
              </a:r>
            </a:p>
          </p:txBody>
        </p:sp>
        <p:cxnSp>
          <p:nvCxnSpPr>
            <p:cNvPr id="32" name="Rechte verbindingslijn 31"/>
            <p:cNvCxnSpPr/>
            <p:nvPr userDrawn="1"/>
          </p:nvCxnSpPr>
          <p:spPr>
            <a:xfrm>
              <a:off x="-3245395" y="1664474"/>
              <a:ext cx="255679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3" name="Tekstvak 82"/>
          <p:cNvSpPr txBox="1"/>
          <p:nvPr userDrawn="1"/>
        </p:nvSpPr>
        <p:spPr>
          <a:xfrm>
            <a:off x="6985000" y="-520700"/>
            <a:ext cx="5207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nl-NL"/>
            </a:defPPr>
            <a:lvl1pPr algn="r">
              <a:defRPr>
                <a:solidFill>
                  <a:srgbClr val="656565"/>
                </a:solidFill>
              </a:defRPr>
            </a:lvl1pPr>
          </a:lstStyle>
          <a:p>
            <a:pPr lvl="0"/>
            <a:r>
              <a:rPr lang="nl-NL" baseline="0" dirty="0"/>
              <a:t>Afbeelding + </a:t>
            </a:r>
            <a:r>
              <a:rPr lang="nl-NL" dirty="0"/>
              <a:t>Tekst</a:t>
            </a:r>
            <a:r>
              <a:rPr lang="nl-NL" baseline="0" dirty="0"/>
              <a:t> (50%/50%)</a:t>
            </a:r>
            <a:endParaRPr lang="nl-NL" dirty="0"/>
          </a:p>
        </p:txBody>
      </p:sp>
      <p:grpSp>
        <p:nvGrpSpPr>
          <p:cNvPr id="84" name="Groep 83"/>
          <p:cNvGrpSpPr/>
          <p:nvPr userDrawn="1"/>
        </p:nvGrpSpPr>
        <p:grpSpPr>
          <a:xfrm>
            <a:off x="12727582" y="19956"/>
            <a:ext cx="3113633" cy="6868888"/>
            <a:chOff x="12346582" y="-5444"/>
            <a:chExt cx="3113633" cy="6868888"/>
          </a:xfrm>
        </p:grpSpPr>
        <p:grpSp>
          <p:nvGrpSpPr>
            <p:cNvPr id="85" name="bijsnijden"/>
            <p:cNvGrpSpPr/>
            <p:nvPr userDrawn="1"/>
          </p:nvGrpSpPr>
          <p:grpSpPr>
            <a:xfrm>
              <a:off x="12346582" y="5828002"/>
              <a:ext cx="779464" cy="828260"/>
              <a:chOff x="13143038" y="5655940"/>
              <a:chExt cx="779464" cy="828260"/>
            </a:xfrm>
          </p:grpSpPr>
          <p:grpSp>
            <p:nvGrpSpPr>
              <p:cNvPr id="103" name="Groep 102"/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06" name="Rechthoek 105"/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pic>
              <p:nvPicPr>
                <p:cNvPr id="107" name="Afbeelding 106"/>
                <p:cNvPicPr>
                  <a:picLocks noChangeAspect="1"/>
                </p:cNvPicPr>
                <p:nvPr userDrawn="1"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r="15865"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08" name="L-vorm 107"/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  <p:sp>
              <p:nvSpPr>
                <p:cNvPr id="109" name="L-vorm 108"/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latin typeface="Open Sans Light" pitchFamily="34" charset="0"/>
                    <a:ea typeface="Open Sans Light" pitchFamily="34" charset="0"/>
                    <a:cs typeface="Open Sans Light" pitchFamily="34" charset="0"/>
                  </a:endParaRPr>
                </a:p>
              </p:txBody>
            </p:sp>
          </p:grpSp>
          <p:sp>
            <p:nvSpPr>
              <p:cNvPr id="104" name="Tekstvak 76"/>
              <p:cNvSpPr txBox="1"/>
              <p:nvPr userDrawn="1"/>
            </p:nvSpPr>
            <p:spPr>
              <a:xfrm>
                <a:off x="13143038" y="6165304"/>
                <a:ext cx="779464" cy="261610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50" b="1" i="0" u="none" strike="noStrike" kern="0" cap="none" spc="0" normalizeH="0" baseline="0" dirty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Bijsnijden</a:t>
                </a:r>
              </a:p>
            </p:txBody>
          </p:sp>
          <p:sp>
            <p:nvSpPr>
              <p:cNvPr id="105" name="Rechthoekige driehoek 104"/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  <p:sp>
          <p:nvSpPr>
            <p:cNvPr id="86" name="Rechthoek 85"/>
            <p:cNvSpPr/>
            <p:nvPr/>
          </p:nvSpPr>
          <p:spPr>
            <a:xfrm>
              <a:off x="12483705" y="-5444"/>
              <a:ext cx="2584447" cy="28846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dirty="0">
                  <a:solidFill>
                    <a:srgbClr val="3560AB"/>
                  </a:solidFill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FBEELDING INVOEGEN</a:t>
              </a:r>
            </a:p>
          </p:txBody>
        </p:sp>
        <p:sp>
          <p:nvSpPr>
            <p:cNvPr id="87" name="Tekstvak 33"/>
            <p:cNvSpPr txBox="1"/>
            <p:nvPr/>
          </p:nvSpPr>
          <p:spPr>
            <a:xfrm>
              <a:off x="12483705" y="865335"/>
              <a:ext cx="2584447" cy="73069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Indien nodig, verwijder de bestaande afbeelding. Klik op het pictogram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om een afbeelding in te voegen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(zie onderstaand voorbeeld).</a:t>
              </a:r>
            </a:p>
          </p:txBody>
        </p:sp>
        <p:sp>
          <p:nvSpPr>
            <p:cNvPr id="88" name="Tekstvak 33"/>
            <p:cNvSpPr txBox="1"/>
            <p:nvPr/>
          </p:nvSpPr>
          <p:spPr>
            <a:xfrm>
              <a:off x="12479311" y="2969104"/>
              <a:ext cx="2592287" cy="44485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Selecteer de afbeelding die u wilt invoegen 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Invoegen’</a:t>
              </a:r>
            </a:p>
          </p:txBody>
        </p:sp>
        <p:sp>
          <p:nvSpPr>
            <p:cNvPr id="89" name="Ovaal 88"/>
            <p:cNvSpPr/>
            <p:nvPr/>
          </p:nvSpPr>
          <p:spPr>
            <a:xfrm>
              <a:off x="12483705" y="436334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1</a:t>
              </a:r>
            </a:p>
          </p:txBody>
        </p:sp>
        <p:sp>
          <p:nvSpPr>
            <p:cNvPr id="90" name="Ovaal 89"/>
            <p:cNvSpPr/>
            <p:nvPr/>
          </p:nvSpPr>
          <p:spPr>
            <a:xfrm>
              <a:off x="12488780" y="2543208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2</a:t>
              </a:r>
            </a:p>
          </p:txBody>
        </p:sp>
        <p:cxnSp>
          <p:nvCxnSpPr>
            <p:cNvPr id="91" name="Rechte verbindingslijn 90"/>
            <p:cNvCxnSpPr/>
            <p:nvPr/>
          </p:nvCxnSpPr>
          <p:spPr>
            <a:xfrm>
              <a:off x="12487778" y="283020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2" name="Rechte verbindingslijn 91"/>
            <p:cNvCxnSpPr/>
            <p:nvPr/>
          </p:nvCxnSpPr>
          <p:spPr>
            <a:xfrm>
              <a:off x="12479311" y="2393251"/>
              <a:ext cx="2592288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3" name="Rechte verbindingslijn 92"/>
            <p:cNvCxnSpPr/>
            <p:nvPr/>
          </p:nvCxnSpPr>
          <p:spPr>
            <a:xfrm>
              <a:off x="12470972" y="3968888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pic>
          <p:nvPicPr>
            <p:cNvPr id="94" name="Icoontje afbeeldi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88780" y="1708839"/>
              <a:ext cx="521075" cy="521075"/>
            </a:xfrm>
            <a:prstGeom prst="rect">
              <a:avLst/>
            </a:prstGeom>
          </p:spPr>
        </p:pic>
        <p:sp>
          <p:nvSpPr>
            <p:cNvPr id="95" name="Tekstvak 33"/>
            <p:cNvSpPr txBox="1"/>
            <p:nvPr/>
          </p:nvSpPr>
          <p:spPr>
            <a:xfrm>
              <a:off x="12479311" y="4549393"/>
              <a:ext cx="2980904" cy="1071870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Als u de afbeelding wilt schalen of verslepen, ga naar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Hulpmiddelen voor afbeeldingen’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en klik op </a:t>
              </a:r>
              <a:r>
                <a:rPr lang="nl-NL" sz="1200" b="1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‘Bijsnijden’. </a:t>
              </a: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Met </a:t>
              </a:r>
              <a:b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</a:br>
              <a:r>
                <a:rPr lang="nl-NL" sz="1200" kern="0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de witte bolletjes schaalt u de afbeelding, met de zwarte haakjes schaalt u het afbeeldingskader.</a:t>
              </a:r>
            </a:p>
          </p:txBody>
        </p:sp>
        <p:sp>
          <p:nvSpPr>
            <p:cNvPr id="96" name="Ovaal 95"/>
            <p:cNvSpPr/>
            <p:nvPr/>
          </p:nvSpPr>
          <p:spPr>
            <a:xfrm>
              <a:off x="12488779" y="4119303"/>
              <a:ext cx="359927" cy="359927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 Light" pitchFamily="34" charset="0"/>
                  <a:ea typeface="Open Sans Light" pitchFamily="34" charset="0"/>
                  <a:cs typeface="Open Sans Light" pitchFamily="34" charset="0"/>
                </a:rPr>
                <a:t>3</a:t>
              </a:r>
            </a:p>
          </p:txBody>
        </p:sp>
        <p:cxnSp>
          <p:nvCxnSpPr>
            <p:cNvPr id="97" name="Rechte verbindingslijn 96"/>
            <p:cNvCxnSpPr/>
            <p:nvPr/>
          </p:nvCxnSpPr>
          <p:spPr>
            <a:xfrm>
              <a:off x="12470972" y="6863444"/>
              <a:ext cx="2608001" cy="0"/>
            </a:xfrm>
            <a:prstGeom prst="lin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98" name="Groep 97"/>
            <p:cNvGrpSpPr/>
            <p:nvPr/>
          </p:nvGrpSpPr>
          <p:grpSpPr>
            <a:xfrm>
              <a:off x="12483705" y="3495180"/>
              <a:ext cx="1114138" cy="297656"/>
              <a:chOff x="13560784" y="3471416"/>
              <a:chExt cx="1114138" cy="297656"/>
            </a:xfrm>
          </p:grpSpPr>
          <p:sp>
            <p:nvSpPr>
              <p:cNvPr id="99" name="Afgeronde rechthoek 98"/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  <p:sp>
            <p:nvSpPr>
              <p:cNvPr id="100" name="Tekstvak 81"/>
              <p:cNvSpPr txBox="1"/>
              <p:nvPr/>
            </p:nvSpPr>
            <p:spPr>
              <a:xfrm>
                <a:off x="13573594" y="3501896"/>
                <a:ext cx="888311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dirty="0">
                    <a:latin typeface="Open Sans Light" pitchFamily="34" charset="0"/>
                    <a:ea typeface="Open Sans Light" pitchFamily="34" charset="0"/>
                    <a:cs typeface="Open Sans Light" pitchFamily="34" charset="0"/>
                  </a:rPr>
                  <a:t>Invoegen</a:t>
                </a:r>
              </a:p>
            </p:txBody>
          </p:sp>
          <p:cxnSp>
            <p:nvCxnSpPr>
              <p:cNvPr id="101" name="Rechte verbindingslijn 100"/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2" name="Gelijkbenige driehoek 101"/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dirty="0">
                  <a:latin typeface="Open Sans Light" pitchFamily="34" charset="0"/>
                  <a:ea typeface="Open Sans Light" pitchFamily="34" charset="0"/>
                  <a:cs typeface="Open Sans Light" pitchFamily="34" charset="0"/>
                </a:endParaRPr>
              </a:p>
            </p:txBody>
          </p:sp>
        </p:grpSp>
      </p:grp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47F140A-6E70-15B8-3341-F62FA788DFB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1237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46048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8927" y="377825"/>
            <a:ext cx="11274147" cy="498475"/>
          </a:xfrm>
          <a:prstGeom prst="rect">
            <a:avLst/>
          </a:prstGeom>
        </p:spPr>
        <p:txBody>
          <a:bodyPr vert="horz" lIns="0" tIns="108000" rIns="108000" bIns="108000" rtlCol="0" anchor="ctr">
            <a:noAutofit/>
          </a:bodyPr>
          <a:lstStyle/>
          <a:p>
            <a:r>
              <a:rPr lang="nl-NL" dirty="0"/>
              <a:t>Klik om de stijl te bewerken</a:t>
            </a:r>
            <a:endParaRPr 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8927" y="1092201"/>
            <a:ext cx="11274147" cy="4680000"/>
          </a:xfrm>
          <a:prstGeom prst="rect">
            <a:avLst/>
          </a:prstGeom>
        </p:spPr>
        <p:txBody>
          <a:bodyPr vert="horz" lIns="0" tIns="108000" rIns="108000" bIns="108000" rtlCol="0">
            <a:no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  <a:p>
            <a:pPr lvl="5"/>
            <a:r>
              <a:rPr lang="nl-NL" dirty="0"/>
              <a:t>Zes</a:t>
            </a:r>
          </a:p>
          <a:p>
            <a:pPr lvl="6"/>
            <a:r>
              <a:rPr lang="nl-NL" dirty="0"/>
              <a:t>Zeven</a:t>
            </a:r>
          </a:p>
          <a:p>
            <a:pPr lvl="7"/>
            <a:r>
              <a:rPr lang="nl-NL" dirty="0"/>
              <a:t>Acht</a:t>
            </a:r>
          </a:p>
          <a:p>
            <a:pPr lvl="8"/>
            <a:r>
              <a:rPr lang="nl-NL" dirty="0"/>
              <a:t>Negen</a:t>
            </a:r>
            <a:endParaRPr lang="en-GB" dirty="0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822485" y="6214021"/>
            <a:ext cx="5268773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Publiek 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0889480" y="6002554"/>
            <a:ext cx="885961" cy="661426"/>
          </a:xfrm>
          <a:prstGeom prst="rect">
            <a:avLst/>
          </a:prstGeom>
        </p:spPr>
      </p:pic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BAEC34E3-D872-C23E-4AB4-7F45F8A3E1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8927" y="6214021"/>
            <a:ext cx="34530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7654E30-3A85-4DFB-8D21-D761F0F41E90}" type="slidenum">
              <a:rPr lang="nl-NL" smtClean="0"/>
              <a:pPr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06949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705" r:id="rId2"/>
    <p:sldLayoutId id="2147483706" r:id="rId3"/>
    <p:sldLayoutId id="2147483693" r:id="rId4"/>
    <p:sldLayoutId id="2147483692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7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rgbClr val="656565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rgbClr val="656565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3pPr>
      <a:lvl4pPr marL="3556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4pPr>
      <a:lvl5pPr marL="5334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rgbClr val="656565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rgbClr val="656565"/>
          </a:solidFill>
          <a:latin typeface="+mn-lt"/>
          <a:ea typeface="+mn-ea"/>
          <a:cs typeface="+mn-cs"/>
        </a:defRPr>
      </a:lvl7pPr>
      <a:lvl8pPr marL="1778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8pPr>
      <a:lvl9pPr marL="355600" indent="-1778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rgbClr val="656565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microsoft.com/office/2018/10/relationships/comments" Target="../comments/modernComment_687_A963209C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jpeg"/><Relationship Id="rId10" Type="http://schemas.openxmlformats.org/officeDocument/2006/relationships/image" Target="../media/image18.png"/><Relationship Id="rId4" Type="http://schemas.openxmlformats.org/officeDocument/2006/relationships/image" Target="../media/image12.jpeg"/><Relationship Id="rId9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icannwiki.org/EC" TargetMode="Externa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Titel 23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NIS-2 en de domeinnamensector</a:t>
            </a:r>
          </a:p>
        </p:txBody>
      </p:sp>
      <p:sp>
        <p:nvSpPr>
          <p:cNvPr id="240" name="Tijdelijke aanduiding voor verticale tekst 239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r>
              <a:rPr lang="nl-NL" dirty="0"/>
              <a:t>Michiel Henneke | SIDN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D21DB5F5-92AF-F23C-1B9C-E8AF81943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Publiek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F0AF5E3-C644-3AEA-9968-682AC674987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98D242B-75DF-4596-8AB2-322FED9EDD77}" type="datetime4">
              <a:rPr lang="nl-NL" smtClean="0"/>
              <a:t>2 oktober 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1227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9BD9B3-9387-0097-2822-E8A840B92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927" y="606100"/>
            <a:ext cx="11274147" cy="498475"/>
          </a:xfrm>
        </p:spPr>
        <p:txBody>
          <a:bodyPr/>
          <a:lstStyle/>
          <a:p>
            <a:r>
              <a:rPr lang="nl-NL" sz="3600" dirty="0"/>
              <a:t>Dus?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EB98C400-F465-4343-44CA-CFC92D6E0A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7" y="1413882"/>
            <a:ext cx="11274147" cy="46800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Het moet accuraat en compleet zijn</a:t>
            </a:r>
            <a:br>
              <a:rPr lang="nl-NL" dirty="0"/>
            </a:b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Het mag niet strijdig zijn met de AVG (persoonsgegevens..)</a:t>
            </a:r>
            <a:br>
              <a:rPr lang="nl-NL" dirty="0"/>
            </a:b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De data wordt bij voorkeur maar een keer aan de klant gevraagd </a:t>
            </a:r>
            <a:br>
              <a:rPr lang="nl-NL" dirty="0"/>
            </a:b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Onuitgesproken, maar logisch:  </a:t>
            </a:r>
          </a:p>
          <a:p>
            <a:pPr marL="876300" lvl="4" indent="-342900"/>
            <a:r>
              <a:rPr lang="nl-NL" dirty="0"/>
              <a:t>Alle EU-burgers gelijk behandelen</a:t>
            </a:r>
          </a:p>
          <a:p>
            <a:pPr marL="876300" lvl="4" indent="-342900"/>
            <a:r>
              <a:rPr lang="nl-NL" dirty="0"/>
              <a:t>Verschillen tussen lidstaten mogen niet zo groot zijn dat interne markt verstoord wordt</a:t>
            </a:r>
            <a:br>
              <a:rPr lang="nl-NL" dirty="0"/>
            </a:br>
            <a:endParaRPr lang="nl-NL" dirty="0"/>
          </a:p>
          <a:p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A0EDDCB-477B-F49D-B270-7304012A8B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Publiek 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5522131-046B-55AB-1118-5371E2C65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10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0008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May be an image of text that says &quot;dnsbelgium&quot;">
            <a:extLst>
              <a:ext uri="{FF2B5EF4-FFF2-40B4-BE49-F238E27FC236}">
                <a16:creationId xmlns:a16="http://schemas.microsoft.com/office/drawing/2014/main" id="{52DC2FF5-735B-49C5-8EC6-0CB9F04B79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7684" y="4208532"/>
            <a:ext cx="1129074" cy="1129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itle 53">
            <a:extLst>
              <a:ext uri="{FF2B5EF4-FFF2-40B4-BE49-F238E27FC236}">
                <a16:creationId xmlns:a16="http://schemas.microsoft.com/office/drawing/2014/main" id="{DCC47824-677F-4A57-B35F-B0C38D1B6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926" y="426632"/>
            <a:ext cx="11274147" cy="498475"/>
          </a:xfrm>
        </p:spPr>
        <p:txBody>
          <a:bodyPr/>
          <a:lstStyle/>
          <a:p>
            <a:r>
              <a:rPr lang="nl-NL" dirty="0"/>
              <a:t>Voorbeeld: registratieproces .nl. .</a:t>
            </a:r>
            <a:r>
              <a:rPr lang="nl-NL" dirty="0" err="1"/>
              <a:t>be</a:t>
            </a:r>
            <a:r>
              <a:rPr lang="nl-NL" dirty="0"/>
              <a:t> &amp; .com</a:t>
            </a:r>
            <a:endParaRPr lang="en-NL" dirty="0"/>
          </a:p>
        </p:txBody>
      </p: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2AB220E8-C0E0-4A0B-8D52-EE7099314A57}"/>
              </a:ext>
            </a:extLst>
          </p:cNvPr>
          <p:cNvCxnSpPr>
            <a:cxnSpLocks/>
          </p:cNvCxnSpPr>
          <p:nvPr/>
        </p:nvCxnSpPr>
        <p:spPr>
          <a:xfrm>
            <a:off x="1714114" y="2320214"/>
            <a:ext cx="0" cy="1108786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41AEB3B0-D804-40A9-8B69-B524E786430A}"/>
              </a:ext>
            </a:extLst>
          </p:cNvPr>
          <p:cNvCxnSpPr>
            <a:cxnSpLocks/>
          </p:cNvCxnSpPr>
          <p:nvPr/>
        </p:nvCxnSpPr>
        <p:spPr>
          <a:xfrm>
            <a:off x="3362936" y="4113241"/>
            <a:ext cx="904264" cy="0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10C7023E-E34F-4B05-A671-AA4F190D39B4}"/>
              </a:ext>
            </a:extLst>
          </p:cNvPr>
          <p:cNvCxnSpPr>
            <a:cxnSpLocks/>
          </p:cNvCxnSpPr>
          <p:nvPr/>
        </p:nvCxnSpPr>
        <p:spPr>
          <a:xfrm flipV="1">
            <a:off x="6092748" y="2267090"/>
            <a:ext cx="1506976" cy="1344419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De staat van het internet 2020 | Waag">
            <a:extLst>
              <a:ext uri="{FF2B5EF4-FFF2-40B4-BE49-F238E27FC236}">
                <a16:creationId xmlns:a16="http://schemas.microsoft.com/office/drawing/2014/main" id="{3E2FEFD8-9DD7-46AC-9D96-E20186E853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423" y="2886140"/>
            <a:ext cx="1066800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A1949DB3-44EE-4230-8D35-C86392D8A2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6111" y="1514957"/>
            <a:ext cx="958373" cy="958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1E1EBAAD-0CF0-271D-A794-EE7D850C11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5564" y="3778940"/>
            <a:ext cx="2476302" cy="668602"/>
          </a:xfrm>
          <a:prstGeom prst="rect">
            <a:avLst/>
          </a:prstGeom>
        </p:spPr>
      </p:pic>
      <p:pic>
        <p:nvPicPr>
          <p:cNvPr id="11" name="Picture 10" descr="Realtime Register | Shaping the future of domain management">
            <a:extLst>
              <a:ext uri="{FF2B5EF4-FFF2-40B4-BE49-F238E27FC236}">
                <a16:creationId xmlns:a16="http://schemas.microsoft.com/office/drawing/2014/main" id="{3CD98D8D-C83B-1619-65CB-AA73532D10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3691" y="3395268"/>
            <a:ext cx="1433085" cy="1265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BGS Nutrition">
            <a:extLst>
              <a:ext uri="{FF2B5EF4-FFF2-40B4-BE49-F238E27FC236}">
                <a16:creationId xmlns:a16="http://schemas.microsoft.com/office/drawing/2014/main" id="{0E3B2E35-1847-9B20-4704-F734E86222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926" y="1548689"/>
            <a:ext cx="2769577" cy="77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Straight Arrow Connector 69">
            <a:extLst>
              <a:ext uri="{FF2B5EF4-FFF2-40B4-BE49-F238E27FC236}">
                <a16:creationId xmlns:a16="http://schemas.microsoft.com/office/drawing/2014/main" id="{04EA0776-A786-0294-3343-A6969DE422C8}"/>
              </a:ext>
            </a:extLst>
          </p:cNvPr>
          <p:cNvCxnSpPr>
            <a:cxnSpLocks/>
          </p:cNvCxnSpPr>
          <p:nvPr/>
        </p:nvCxnSpPr>
        <p:spPr>
          <a:xfrm flipV="1">
            <a:off x="6256690" y="3611509"/>
            <a:ext cx="1343034" cy="416355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69">
            <a:extLst>
              <a:ext uri="{FF2B5EF4-FFF2-40B4-BE49-F238E27FC236}">
                <a16:creationId xmlns:a16="http://schemas.microsoft.com/office/drawing/2014/main" id="{61648010-0081-BA9E-C3EA-AAB4BDFC14B3}"/>
              </a:ext>
            </a:extLst>
          </p:cNvPr>
          <p:cNvCxnSpPr>
            <a:cxnSpLocks/>
          </p:cNvCxnSpPr>
          <p:nvPr/>
        </p:nvCxnSpPr>
        <p:spPr>
          <a:xfrm>
            <a:off x="6136145" y="4413810"/>
            <a:ext cx="1319169" cy="403046"/>
          </a:xfrm>
          <a:prstGeom prst="straightConnector1">
            <a:avLst/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kstvak 30">
            <a:extLst>
              <a:ext uri="{FF2B5EF4-FFF2-40B4-BE49-F238E27FC236}">
                <a16:creationId xmlns:a16="http://schemas.microsoft.com/office/drawing/2014/main" id="{DDB8188D-433A-8078-7340-8E05D07CBD80}"/>
              </a:ext>
            </a:extLst>
          </p:cNvPr>
          <p:cNvSpPr txBox="1"/>
          <p:nvPr/>
        </p:nvSpPr>
        <p:spPr>
          <a:xfrm>
            <a:off x="1784398" y="2300822"/>
            <a:ext cx="7441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/>
              <a:t>Klant</a:t>
            </a:r>
          </a:p>
        </p:txBody>
      </p:sp>
      <p:sp>
        <p:nvSpPr>
          <p:cNvPr id="32" name="Tekstvak 31">
            <a:extLst>
              <a:ext uri="{FF2B5EF4-FFF2-40B4-BE49-F238E27FC236}">
                <a16:creationId xmlns:a16="http://schemas.microsoft.com/office/drawing/2014/main" id="{8D5A8471-B64C-2BB7-7BB8-41DCD34CBB95}"/>
              </a:ext>
            </a:extLst>
          </p:cNvPr>
          <p:cNvSpPr txBox="1"/>
          <p:nvPr/>
        </p:nvSpPr>
        <p:spPr>
          <a:xfrm>
            <a:off x="961902" y="4513625"/>
            <a:ext cx="17636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err="1"/>
              <a:t>Reseller</a:t>
            </a:r>
            <a:r>
              <a:rPr lang="nl-NL" dirty="0"/>
              <a:t>/</a:t>
            </a:r>
            <a:r>
              <a:rPr lang="nl-NL" dirty="0" err="1"/>
              <a:t>hoster</a:t>
            </a:r>
            <a:endParaRPr lang="nl-NL" dirty="0"/>
          </a:p>
        </p:txBody>
      </p:sp>
      <p:sp>
        <p:nvSpPr>
          <p:cNvPr id="33" name="Tekstvak 32">
            <a:extLst>
              <a:ext uri="{FF2B5EF4-FFF2-40B4-BE49-F238E27FC236}">
                <a16:creationId xmlns:a16="http://schemas.microsoft.com/office/drawing/2014/main" id="{B7AF2CB3-3615-B324-2DA2-FF46C8FB3C96}"/>
              </a:ext>
            </a:extLst>
          </p:cNvPr>
          <p:cNvSpPr txBox="1"/>
          <p:nvPr/>
        </p:nvSpPr>
        <p:spPr>
          <a:xfrm>
            <a:off x="4588752" y="4737408"/>
            <a:ext cx="11288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err="1"/>
              <a:t>Registrar</a:t>
            </a:r>
            <a:endParaRPr lang="nl-NL" dirty="0"/>
          </a:p>
        </p:txBody>
      </p:sp>
      <p:sp>
        <p:nvSpPr>
          <p:cNvPr id="34" name="Tekstvak 33">
            <a:extLst>
              <a:ext uri="{FF2B5EF4-FFF2-40B4-BE49-F238E27FC236}">
                <a16:creationId xmlns:a16="http://schemas.microsoft.com/office/drawing/2014/main" id="{FB5AD4C2-3DDE-86DD-80E2-AE0980D12D5F}"/>
              </a:ext>
            </a:extLst>
          </p:cNvPr>
          <p:cNvSpPr txBox="1"/>
          <p:nvPr/>
        </p:nvSpPr>
        <p:spPr>
          <a:xfrm>
            <a:off x="7590191" y="5203210"/>
            <a:ext cx="1196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 err="1"/>
              <a:t>Registries</a:t>
            </a:r>
            <a:endParaRPr lang="nl-NL" dirty="0"/>
          </a:p>
        </p:txBody>
      </p:sp>
      <p:pic>
        <p:nvPicPr>
          <p:cNvPr id="1038" name="Picture 14" descr="Sticker vlag van Nederland (4x2.5cm)">
            <a:extLst>
              <a:ext uri="{FF2B5EF4-FFF2-40B4-BE49-F238E27FC236}">
                <a16:creationId xmlns:a16="http://schemas.microsoft.com/office/drawing/2014/main" id="{3511C00D-CDFF-64AC-D47F-7DF60ECCCB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60" b="20689"/>
          <a:stretch/>
        </p:blipFill>
        <p:spPr bwMode="auto">
          <a:xfrm>
            <a:off x="9365787" y="2993584"/>
            <a:ext cx="1296447" cy="779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Vlag van Luxemburg (land) - Wikipedia">
            <a:extLst>
              <a:ext uri="{FF2B5EF4-FFF2-40B4-BE49-F238E27FC236}">
                <a16:creationId xmlns:a16="http://schemas.microsoft.com/office/drawing/2014/main" id="{3D969CE5-CE3A-CCC0-BF4D-DF6C83DE94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7574" y="1607401"/>
            <a:ext cx="1152875" cy="693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Vlag België | Holland Vlaggen">
            <a:extLst>
              <a:ext uri="{FF2B5EF4-FFF2-40B4-BE49-F238E27FC236}">
                <a16:creationId xmlns:a16="http://schemas.microsoft.com/office/drawing/2014/main" id="{44147FD3-8134-D658-B832-9FEA1277A2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9491458" y="4278554"/>
            <a:ext cx="1045104" cy="673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kstvak 46">
            <a:extLst>
              <a:ext uri="{FF2B5EF4-FFF2-40B4-BE49-F238E27FC236}">
                <a16:creationId xmlns:a16="http://schemas.microsoft.com/office/drawing/2014/main" id="{4D31D674-B1B2-D878-BDBA-C65EF81C3E3F}"/>
              </a:ext>
            </a:extLst>
          </p:cNvPr>
          <p:cNvSpPr txBox="1"/>
          <p:nvPr/>
        </p:nvSpPr>
        <p:spPr>
          <a:xfrm>
            <a:off x="9483068" y="5211956"/>
            <a:ext cx="105349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/>
              <a:t>Toezicht</a:t>
            </a:r>
            <a:br>
              <a:rPr lang="nl-NL" dirty="0"/>
            </a:br>
            <a:r>
              <a:rPr lang="nl-NL" dirty="0"/>
              <a:t>houders</a:t>
            </a:r>
          </a:p>
        </p:txBody>
      </p:sp>
      <p:sp>
        <p:nvSpPr>
          <p:cNvPr id="48" name="Tekstvak 47">
            <a:extLst>
              <a:ext uri="{FF2B5EF4-FFF2-40B4-BE49-F238E27FC236}">
                <a16:creationId xmlns:a16="http://schemas.microsoft.com/office/drawing/2014/main" id="{7A7D1268-EDB2-83B8-F3F8-82920CD5BD09}"/>
              </a:ext>
            </a:extLst>
          </p:cNvPr>
          <p:cNvSpPr txBox="1"/>
          <p:nvPr/>
        </p:nvSpPr>
        <p:spPr>
          <a:xfrm>
            <a:off x="558324" y="5306103"/>
            <a:ext cx="62879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dirty="0"/>
              <a:t>Uitdagingen:</a:t>
            </a:r>
          </a:p>
          <a:p>
            <a:pPr marL="342900" indent="-342900">
              <a:buAutoNum type="arabicPeriod"/>
            </a:pPr>
            <a:r>
              <a:rPr lang="nl-NL" dirty="0"/>
              <a:t>Waar vindt de check plaats?</a:t>
            </a:r>
          </a:p>
          <a:p>
            <a:pPr marL="342900" indent="-342900">
              <a:buAutoNum type="arabicPeriod"/>
            </a:pPr>
            <a:r>
              <a:rPr lang="nl-NL" dirty="0"/>
              <a:t>Aan de eisen van welke lidstaat wil je voldoen?</a:t>
            </a:r>
          </a:p>
          <a:p>
            <a:pPr marL="342900" indent="-342900">
              <a:buAutoNum type="arabicPeriod"/>
            </a:pPr>
            <a:r>
              <a:rPr lang="nl-NL" dirty="0"/>
              <a:t>Hoe kunnen partijen verificatie achterhalen?</a:t>
            </a:r>
          </a:p>
        </p:txBody>
      </p:sp>
    </p:spTree>
    <p:extLst>
      <p:ext uri="{BB962C8B-B14F-4D97-AF65-F5344CB8AC3E}">
        <p14:creationId xmlns:p14="http://schemas.microsoft.com/office/powerpoint/2010/main" val="2841845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812D13-A5BB-A9F6-767B-F7FECE659D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n verder: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3752241C-8F2B-82A3-46A0-263F31FD89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7" y="1490869"/>
            <a:ext cx="11274147" cy="428133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nl-NL" dirty="0"/>
              <a:t>Niet gespecificeerd hoe lang verificatie geldig is</a:t>
            </a:r>
            <a:br>
              <a:rPr lang="nl-NL" dirty="0"/>
            </a:br>
            <a:endParaRPr lang="nl-NL" dirty="0"/>
          </a:p>
          <a:p>
            <a:pPr marL="457200" indent="-457200">
              <a:buFont typeface="+mj-lt"/>
              <a:buAutoNum type="arabicPeriod"/>
            </a:pPr>
            <a:r>
              <a:rPr lang="nl-NL" dirty="0"/>
              <a:t>Geldt ook voor bestaande registraties (loophole: </a:t>
            </a:r>
            <a:r>
              <a:rPr lang="nl-NL" dirty="0" err="1"/>
              <a:t>article</a:t>
            </a:r>
            <a:r>
              <a:rPr lang="nl-NL" dirty="0"/>
              <a:t> 22 ‘proportionaliteit’)?</a:t>
            </a:r>
            <a:br>
              <a:rPr lang="nl-NL" dirty="0"/>
            </a:br>
            <a:endParaRPr lang="nl-NL" dirty="0"/>
          </a:p>
          <a:p>
            <a:pPr marL="457200" indent="-457200">
              <a:buFont typeface="+mj-lt"/>
              <a:buAutoNum type="arabicPeriod"/>
            </a:pPr>
            <a:r>
              <a:rPr lang="nl-NL" dirty="0"/>
              <a:t>Gegevens worden 1 keer verzameld, maar mogen overal opgevraagd worden.</a:t>
            </a:r>
            <a:br>
              <a:rPr lang="nl-NL" dirty="0"/>
            </a:br>
            <a:endParaRPr lang="nl-NL" dirty="0"/>
          </a:p>
          <a:p>
            <a:pPr marL="457200" indent="-457200">
              <a:buFont typeface="+mj-lt"/>
              <a:buAutoNum type="arabicPeriod"/>
            </a:pPr>
            <a:r>
              <a:rPr lang="nl-NL" dirty="0"/>
              <a:t>Wat gebeurt er als verificatie faalt of verificatie aangevochten wordt?</a:t>
            </a:r>
            <a:br>
              <a:rPr lang="nl-NL" dirty="0"/>
            </a:br>
            <a:endParaRPr lang="nl-NL" dirty="0"/>
          </a:p>
          <a:p>
            <a:pPr marL="457200" indent="-457200">
              <a:buFont typeface="+mj-lt"/>
              <a:buAutoNum type="arabicPeriod"/>
            </a:pPr>
            <a:r>
              <a:rPr lang="nl-NL" dirty="0"/>
              <a:t>Waar en hoe leggen wij verificatie vast (methode, datum, </a:t>
            </a:r>
            <a:r>
              <a:rPr lang="nl-NL" dirty="0" err="1"/>
              <a:t>verifierende</a:t>
            </a:r>
            <a:r>
              <a:rPr lang="nl-NL" dirty="0"/>
              <a:t> partij..)?</a:t>
            </a:r>
            <a:br>
              <a:rPr lang="nl-NL" dirty="0"/>
            </a:br>
            <a:endParaRPr lang="nl-NL" dirty="0"/>
          </a:p>
          <a:p>
            <a:pPr marL="457200" indent="-457200">
              <a:buFont typeface="+mj-lt"/>
              <a:buAutoNum type="arabicPeriod"/>
            </a:pPr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445DBE1-128A-80B4-BDB3-9A2B0832B6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Publiek </a:t>
            </a:r>
            <a:endParaRPr lang="nl-NL" noProof="0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627C55-CA99-8664-AEBC-82BFAC250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12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63704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68A381-246D-2D5D-5B49-04EA45856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600" dirty="0"/>
              <a:t>Wat zijn de opties?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3D4BEDE3-0026-620F-1C12-42CB586B58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7" y="1382756"/>
            <a:ext cx="11274147" cy="4092488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nl-NL" sz="3200" dirty="0"/>
              <a:t>Wetgever neemt art. 28 over en laat interpretatie aan rechter/toezichthouder</a:t>
            </a:r>
            <a:br>
              <a:rPr lang="nl-NL" sz="3200" dirty="0"/>
            </a:br>
            <a:endParaRPr lang="nl-NL" sz="3200" dirty="0"/>
          </a:p>
          <a:p>
            <a:pPr marL="457200" indent="-457200">
              <a:buFont typeface="+mj-lt"/>
              <a:buAutoNum type="arabicPeriod"/>
            </a:pPr>
            <a:r>
              <a:rPr lang="nl-NL" sz="3200" dirty="0"/>
              <a:t>Wetgever specificeert art. 28 voor de eigen lidstaat.</a:t>
            </a:r>
            <a:br>
              <a:rPr lang="nl-NL" sz="3200" dirty="0"/>
            </a:br>
            <a:endParaRPr lang="nl-NL" sz="3200" dirty="0"/>
          </a:p>
          <a:p>
            <a:pPr marL="457200" indent="-457200">
              <a:buFont typeface="+mj-lt"/>
              <a:buAutoNum type="arabicPeriod"/>
            </a:pPr>
            <a:r>
              <a:rPr lang="nl-NL" sz="3200" dirty="0"/>
              <a:t>Lidstaten komen in overleg tot uitwerking (NIS-2 </a:t>
            </a:r>
            <a:r>
              <a:rPr lang="nl-NL" sz="3200" dirty="0" err="1"/>
              <a:t>Coordination</a:t>
            </a:r>
            <a:r>
              <a:rPr lang="nl-NL" sz="3200" dirty="0"/>
              <a:t> Group).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59EBEBC6-4320-AF2B-498E-0D1809790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Publiek </a:t>
            </a:r>
            <a:endParaRPr lang="nl-NL" noProof="0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EF4AFDD-49B0-E52B-C986-8D555330E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13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74743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936916-3520-809D-561E-DB5085E33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Uitdagingen voor de sector: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A23229F-28CD-5BF5-9F03-18605C3770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endParaRPr lang="nl-NL" dirty="0"/>
          </a:p>
          <a:p>
            <a:pPr marL="457200" indent="-457200">
              <a:buAutoNum type="arabicPeriod"/>
            </a:pPr>
            <a:r>
              <a:rPr lang="nl-NL" dirty="0"/>
              <a:t>Gaan wij voor minimale of uniforme </a:t>
            </a:r>
            <a:r>
              <a:rPr lang="nl-NL" dirty="0" err="1"/>
              <a:t>requirements</a:t>
            </a:r>
            <a:r>
              <a:rPr lang="nl-NL" dirty="0"/>
              <a:t>?</a:t>
            </a:r>
            <a:br>
              <a:rPr lang="nl-NL" dirty="0"/>
            </a:br>
            <a:br>
              <a:rPr lang="nl-NL" dirty="0"/>
            </a:br>
            <a:endParaRPr lang="nl-NL" dirty="0"/>
          </a:p>
          <a:p>
            <a:pPr marL="457200" indent="-457200">
              <a:buAutoNum type="arabicPeriod"/>
            </a:pPr>
            <a:r>
              <a:rPr lang="nl-NL" dirty="0"/>
              <a:t>Wanneer kan de sector starten met inrichten van processen?</a:t>
            </a:r>
            <a:br>
              <a:rPr lang="nl-NL" dirty="0"/>
            </a:br>
            <a:br>
              <a:rPr lang="nl-NL" dirty="0"/>
            </a:br>
            <a:endParaRPr lang="nl-NL" dirty="0"/>
          </a:p>
          <a:p>
            <a:pPr marL="457200" indent="-457200">
              <a:buAutoNum type="arabicPeriod"/>
            </a:pPr>
            <a:r>
              <a:rPr lang="nl-NL" dirty="0"/>
              <a:t>Moeten wij taken in de keten herverdelen?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B086BD79-2938-6438-CBD2-6DA06B925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Publiek </a:t>
            </a:r>
            <a:endParaRPr lang="nl-NL" noProof="0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CB13C4B-1747-D6E3-D6A8-1979522F56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14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17127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713495-78C1-952F-876A-95437956A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600" dirty="0"/>
              <a:t>Wanneer weten wij meer?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B4B493E7-BFF3-1E0A-A539-1E5649E8C0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31579" y="1205160"/>
            <a:ext cx="6162589" cy="4680000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nl-NL" dirty="0"/>
              <a:t>Eind oktober Zero Day Event in Hamburg</a:t>
            </a:r>
            <a:br>
              <a:rPr lang="nl-NL" dirty="0"/>
            </a:br>
            <a:endParaRPr lang="nl-NL" dirty="0"/>
          </a:p>
          <a:p>
            <a:pPr marL="457200" indent="-457200">
              <a:buFont typeface="+mj-lt"/>
              <a:buAutoNum type="arabicPeriod"/>
            </a:pPr>
            <a:r>
              <a:rPr lang="nl-NL" dirty="0"/>
              <a:t>Update van coördinatie groep lidstaten</a:t>
            </a:r>
            <a:br>
              <a:rPr lang="nl-NL" dirty="0"/>
            </a:br>
            <a:endParaRPr lang="nl-NL" dirty="0"/>
          </a:p>
          <a:p>
            <a:pPr marL="457200" indent="-457200">
              <a:buFont typeface="+mj-lt"/>
              <a:buAutoNum type="arabicPeriod"/>
            </a:pPr>
            <a:r>
              <a:rPr lang="nl-NL" dirty="0" err="1"/>
              <a:t>Overview</a:t>
            </a:r>
            <a:r>
              <a:rPr lang="nl-NL" dirty="0"/>
              <a:t> van draft-implementaties </a:t>
            </a:r>
            <a:br>
              <a:rPr lang="nl-NL" dirty="0"/>
            </a:br>
            <a:r>
              <a:rPr lang="nl-NL" dirty="0"/>
              <a:t>in andere landen</a:t>
            </a:r>
            <a:br>
              <a:rPr lang="nl-NL" dirty="0"/>
            </a:br>
            <a:endParaRPr lang="nl-NL" dirty="0"/>
          </a:p>
          <a:p>
            <a:pPr marL="457200" indent="-457200">
              <a:buFont typeface="+mj-lt"/>
              <a:buAutoNum type="arabicPeriod"/>
            </a:pPr>
            <a:r>
              <a:rPr lang="nl-NL" dirty="0"/>
              <a:t>Wetsvoorstel waarschijnlijk pas </a:t>
            </a:r>
            <a:br>
              <a:rPr lang="nl-NL" dirty="0"/>
            </a:br>
            <a:r>
              <a:rPr lang="nl-NL" dirty="0"/>
              <a:t>na verkiezingen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AD71BB3-F115-B1AE-362E-18E7F1B72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Publiek </a:t>
            </a:r>
            <a:endParaRPr lang="nl-NL" noProof="0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B1C06882-A5B2-1571-7238-6F07703F7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15</a:t>
            </a:fld>
            <a:endParaRPr lang="nl-NL" dirty="0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5EDEEA0-3BAF-EC24-84FF-684680439C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3589" y="1420956"/>
            <a:ext cx="4404742" cy="4016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095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ankjewel voor je aandacht!</a:t>
            </a:r>
            <a:endParaRPr lang="en-GB" dirty="0"/>
          </a:p>
        </p:txBody>
      </p:sp>
      <p:grpSp>
        <p:nvGrpSpPr>
          <p:cNvPr id="36" name="Groep 35"/>
          <p:cNvGrpSpPr/>
          <p:nvPr/>
        </p:nvGrpSpPr>
        <p:grpSpPr>
          <a:xfrm>
            <a:off x="1281480" y="1994713"/>
            <a:ext cx="866968" cy="1959979"/>
            <a:chOff x="1063423" y="-31421"/>
            <a:chExt cx="2335511" cy="5279954"/>
          </a:xfrm>
        </p:grpSpPr>
        <p:sp>
          <p:nvSpPr>
            <p:cNvPr id="37" name="Freeform 308"/>
            <p:cNvSpPr>
              <a:spLocks/>
            </p:cNvSpPr>
            <p:nvPr/>
          </p:nvSpPr>
          <p:spPr bwMode="auto">
            <a:xfrm>
              <a:off x="2476022" y="2894257"/>
              <a:ext cx="922912" cy="922911"/>
            </a:xfrm>
            <a:prstGeom prst="rect">
              <a:avLst/>
            </a:prstGeom>
            <a:noFill/>
            <a:ln w="0">
              <a:noFill/>
              <a:prstDash val="solid"/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nl-NL" sz="2400" dirty="0">
                  <a:solidFill>
                    <a:schemeClr val="bg1">
                      <a:lumMod val="50000"/>
                    </a:schemeClr>
                  </a:solidFill>
                </a:rPr>
                <a:t>@SIDN</a:t>
              </a:r>
            </a:p>
          </p:txBody>
        </p:sp>
        <p:sp>
          <p:nvSpPr>
            <p:cNvPr id="38" name="Freeform 308"/>
            <p:cNvSpPr>
              <a:spLocks/>
            </p:cNvSpPr>
            <p:nvPr/>
          </p:nvSpPr>
          <p:spPr bwMode="auto">
            <a:xfrm>
              <a:off x="2476022" y="4325622"/>
              <a:ext cx="922912" cy="922911"/>
            </a:xfrm>
            <a:prstGeom prst="rect">
              <a:avLst/>
            </a:prstGeom>
            <a:noFill/>
            <a:ln w="0">
              <a:noFill/>
              <a:prstDash val="solid"/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r>
                <a:rPr lang="nl-NL" sz="2400" dirty="0">
                  <a:solidFill>
                    <a:schemeClr val="bg1">
                      <a:lumMod val="50000"/>
                    </a:schemeClr>
                  </a:solidFill>
                </a:rPr>
                <a:t>SIDN</a:t>
              </a:r>
            </a:p>
          </p:txBody>
        </p:sp>
        <p:sp>
          <p:nvSpPr>
            <p:cNvPr id="40" name="Freeform 308"/>
            <p:cNvSpPr>
              <a:spLocks/>
            </p:cNvSpPr>
            <p:nvPr/>
          </p:nvSpPr>
          <p:spPr bwMode="auto">
            <a:xfrm>
              <a:off x="2476022" y="1462895"/>
              <a:ext cx="922912" cy="922911"/>
            </a:xfrm>
            <a:prstGeom prst="rect">
              <a:avLst/>
            </a:prstGeom>
            <a:noFill/>
            <a:ln w="0">
              <a:noFill/>
              <a:prstDash val="solid"/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NL" sz="2400" dirty="0">
                  <a:solidFill>
                    <a:schemeClr val="bg1">
                      <a:lumMod val="50000"/>
                    </a:schemeClr>
                  </a:solidFill>
                </a:rPr>
                <a:t>SIDN.nl</a:t>
              </a:r>
            </a:p>
          </p:txBody>
        </p:sp>
        <p:sp>
          <p:nvSpPr>
            <p:cNvPr id="41" name="Freeform 308"/>
            <p:cNvSpPr>
              <a:spLocks/>
            </p:cNvSpPr>
            <p:nvPr/>
          </p:nvSpPr>
          <p:spPr bwMode="auto">
            <a:xfrm>
              <a:off x="1063423" y="-31421"/>
              <a:ext cx="922911" cy="922911"/>
            </a:xfrm>
            <a:prstGeom prst="rect">
              <a:avLst/>
            </a:prstGeom>
            <a:noFill/>
            <a:ln w="0">
              <a:noFill/>
              <a:prstDash val="solid"/>
              <a:round/>
              <a:headEnd/>
              <a:tailEnd/>
            </a:ln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>
              <a:defPPr>
                <a:defRPr lang="nl-NL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nl-NL" sz="2400" i="1" dirty="0">
                  <a:solidFill>
                    <a:srgbClr val="5E6162"/>
                  </a:solidFill>
                </a:rPr>
                <a:t>Volg ons</a:t>
              </a:r>
            </a:p>
          </p:txBody>
        </p:sp>
      </p:grpSp>
      <p:pic>
        <p:nvPicPr>
          <p:cNvPr id="42" name="Afbeelding 4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475" y="2413770"/>
            <a:ext cx="682753" cy="1733358"/>
          </a:xfrm>
          <a:prstGeom prst="rect">
            <a:avLst/>
          </a:prstGeom>
        </p:spPr>
      </p:pic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2CBD2EE2-8B2F-CD26-2014-C09011E20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2485" y="6214022"/>
            <a:ext cx="2650189" cy="365125"/>
          </a:xfrm>
        </p:spPr>
        <p:txBody>
          <a:bodyPr/>
          <a:lstStyle/>
          <a:p>
            <a:r>
              <a:rPr lang="nl-NL" noProof="0" dirty="0"/>
              <a:t>Publiek 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C02992E4-E7E3-1A4E-9C1A-2958851DA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8927" y="6214022"/>
            <a:ext cx="345304" cy="365125"/>
          </a:xfrm>
        </p:spPr>
        <p:txBody>
          <a:bodyPr/>
          <a:lstStyle/>
          <a:p>
            <a:fld id="{97654E30-3A85-4DFB-8D21-D761F0F41E90}" type="slidenum">
              <a:rPr lang="nl-NL" smtClean="0"/>
              <a:pPr/>
              <a:t>16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44532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/>
              <a:t>Agenda</a:t>
            </a:r>
            <a:endParaRPr lang="nl-NL" dirty="0"/>
          </a:p>
        </p:txBody>
      </p:sp>
      <p:sp>
        <p:nvSpPr>
          <p:cNvPr id="5" name="Tijdelijke aanduiding voor verticale tekst 4"/>
          <p:cNvSpPr>
            <a:spLocks noGrp="1"/>
          </p:cNvSpPr>
          <p:nvPr>
            <p:ph type="body" orient="vert" idx="1"/>
          </p:nvPr>
        </p:nvSpPr>
        <p:spPr>
          <a:xfrm>
            <a:off x="458927" y="1330821"/>
            <a:ext cx="11274147" cy="4680000"/>
          </a:xfrm>
        </p:spPr>
        <p:txBody>
          <a:bodyPr/>
          <a:lstStyle/>
          <a:p>
            <a:pPr lvl="2"/>
            <a:r>
              <a:rPr lang="nl-NL" sz="1600" dirty="0"/>
              <a:t>Het verhaal achter NIS-2</a:t>
            </a:r>
          </a:p>
          <a:p>
            <a:pPr lvl="2"/>
            <a:r>
              <a:rPr lang="nl-NL" sz="1600" dirty="0"/>
              <a:t>Tijdlijn en toepasselijkheid</a:t>
            </a:r>
          </a:p>
          <a:p>
            <a:pPr lvl="2"/>
            <a:r>
              <a:rPr lang="nl-NL" sz="1600" dirty="0"/>
              <a:t>Domeinnaamregistratiediensten</a:t>
            </a:r>
          </a:p>
          <a:p>
            <a:pPr lvl="2"/>
            <a:r>
              <a:rPr lang="nl-NL" sz="1600" dirty="0"/>
              <a:t>Art. 28: eisen aan domeinnaamregistraties</a:t>
            </a:r>
          </a:p>
          <a:p>
            <a:pPr lvl="2"/>
            <a:r>
              <a:rPr lang="nl-NL" sz="1600" dirty="0"/>
              <a:t>Art. 28: wat is onduidelijk?</a:t>
            </a:r>
          </a:p>
          <a:p>
            <a:pPr lvl="2"/>
            <a:r>
              <a:rPr lang="nl-NL" sz="1600" dirty="0"/>
              <a:t>Art. 28: mogelijke uitkomsten</a:t>
            </a:r>
          </a:p>
          <a:p>
            <a:pPr lvl="2"/>
            <a:r>
              <a:rPr lang="nl-NL" sz="1600" dirty="0"/>
              <a:t>Art. 28: technische en procesmatige uitdagingen</a:t>
            </a:r>
          </a:p>
          <a:p>
            <a:pPr lvl="2"/>
            <a:r>
              <a:rPr lang="nl-NL" sz="1600" dirty="0"/>
              <a:t>Uniformiteit of minimale eisen?</a:t>
            </a:r>
          </a:p>
          <a:p>
            <a:pPr lvl="2"/>
            <a:r>
              <a:rPr lang="nl-NL" sz="1600" dirty="0"/>
              <a:t>Wanneer weten wij meer?</a:t>
            </a:r>
          </a:p>
          <a:p>
            <a:pPr lvl="2"/>
            <a:r>
              <a:rPr lang="nl-NL" sz="1600" dirty="0"/>
              <a:t>Vragen</a:t>
            </a:r>
          </a:p>
          <a:p>
            <a:pPr lvl="2"/>
            <a:endParaRPr lang="nl-NL" sz="1600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2AE879A-00E7-19EE-01BC-5DD98759F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Publiek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83C3B35-B8D9-5DB6-80CF-ABD5935B7B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2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72342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/>
              <a:t>Het (officieuze) verhaal achter NIS-2</a:t>
            </a:r>
          </a:p>
        </p:txBody>
      </p:sp>
      <p:sp>
        <p:nvSpPr>
          <p:cNvPr id="5" name="Tijdelijke aanduiding voor verticale tekst 4"/>
          <p:cNvSpPr>
            <a:spLocks noGrp="1"/>
          </p:cNvSpPr>
          <p:nvPr>
            <p:ph type="body" orient="vert" idx="1"/>
          </p:nvPr>
        </p:nvSpPr>
        <p:spPr>
          <a:xfrm>
            <a:off x="458927" y="1439335"/>
            <a:ext cx="11274147" cy="46800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Domeinnamensector wordt internationaal gereguleerd door ICANN</a:t>
            </a:r>
            <a:br>
              <a:rPr lang="nl-NL" dirty="0"/>
            </a:b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Relatie Europese Commissie &amp; ICANN vaak moeizaam </a:t>
            </a:r>
            <a:r>
              <a:rPr lang="nl-NL" sz="1600" dirty="0"/>
              <a:t>(bron: </a:t>
            </a:r>
            <a:r>
              <a:rPr lang="nl-NL" sz="1600" dirty="0">
                <a:hlinkClick r:id="rId2"/>
              </a:rPr>
              <a:t>https://icannwiki.org/EC</a:t>
            </a:r>
            <a:r>
              <a:rPr lang="nl-NL" sz="1600" dirty="0"/>
              <a:t> )</a:t>
            </a:r>
            <a:br>
              <a:rPr lang="nl-NL" dirty="0"/>
            </a:b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2020: EU onvrede over </a:t>
            </a:r>
            <a:r>
              <a:rPr lang="en-US" dirty="0"/>
              <a:t>Expedited Policy Development Process (EPDP)</a:t>
            </a:r>
            <a:br>
              <a:rPr lang="nl-NL" dirty="0"/>
            </a:b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2021: draft Network Information Security Directive 2 (NIS-2)</a:t>
            </a:r>
            <a:br>
              <a:rPr lang="nl-NL" dirty="0"/>
            </a:b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2021: specifieke bepalingen exclusief voor domeinnaamsector (art, 23/later 28)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F1C740F-2AE8-E2C0-0B78-7117083F11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Publiek </a:t>
            </a:r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11C7E5F7-3710-B291-D64B-6BFEFEC39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3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3247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5A4A2A-F3EC-606A-0027-CF7FA12FA1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927" y="375490"/>
            <a:ext cx="11274147" cy="498475"/>
          </a:xfrm>
        </p:spPr>
        <p:txBody>
          <a:bodyPr anchor="ctr">
            <a:noAutofit/>
          </a:bodyPr>
          <a:lstStyle/>
          <a:p>
            <a:r>
              <a:rPr lang="nl-NL" sz="2400" dirty="0"/>
              <a:t>Tijdlijn en toepasselijkheid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2DB4B531-B1AB-874C-78DB-86162D9276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85353" y="1282109"/>
            <a:ext cx="5521457" cy="4680000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l-NL" dirty="0"/>
              <a:t>NIS-2 heeft tot doel cyberveiligheid van belangrijke en essentiële ketens te beschermen</a:t>
            </a:r>
            <a:br>
              <a:rPr lang="nl-NL" dirty="0"/>
            </a:br>
            <a:endParaRPr lang="nl-NL" dirty="0"/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l-NL" dirty="0"/>
              <a:t>In vergelijking met NIS-1 (2016) neemt het aantal betrokken sectoren exponentieel toe.</a:t>
            </a:r>
            <a:br>
              <a:rPr lang="nl-NL" dirty="0"/>
            </a:br>
            <a:endParaRPr lang="nl-NL" dirty="0"/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l-NL" dirty="0"/>
              <a:t>NIS-2 moet 21 maanden na aanname vertaald worden in nationale wetgeving.</a:t>
            </a:r>
            <a:br>
              <a:rPr lang="nl-NL" dirty="0"/>
            </a:br>
            <a:endParaRPr lang="nl-NL" dirty="0"/>
          </a:p>
          <a:p>
            <a:pPr marL="3429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l-NL" dirty="0"/>
              <a:t>Aanname was 18 december 2022, deadline nationale wetgeving dus op 18 oktober 2024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522CE69-6C8B-A2B7-327A-DFF94C70FB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2485" y="6214021"/>
            <a:ext cx="5268773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nl-NL" noProof="0" dirty="0"/>
              <a:t>Publiek 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974CF0B0-7863-B9DA-1A38-1A9E2AC2190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9510"/>
          <a:stretch/>
        </p:blipFill>
        <p:spPr>
          <a:xfrm>
            <a:off x="6083300" y="1596024"/>
            <a:ext cx="5649774" cy="3323109"/>
          </a:xfrm>
          <a:prstGeom prst="rect">
            <a:avLst/>
          </a:prstGeom>
          <a:noFill/>
        </p:spPr>
      </p:pic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2B627BF8-D4B0-338D-D860-76C74E1434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58927" y="6214021"/>
            <a:ext cx="345304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97654E30-3A85-4DFB-8D21-D761F0F41E90}" type="slidenum">
              <a:rPr lang="nl-NL" smtClean="0"/>
              <a:pPr>
                <a:spcAft>
                  <a:spcPts val="600"/>
                </a:spcAft>
              </a:pPr>
              <a:t>4</a:t>
            </a:fld>
            <a:endParaRPr lang="nl-NL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3A3EDB9F-4179-233A-678A-D68A6D5D0D27}"/>
              </a:ext>
            </a:extLst>
          </p:cNvPr>
          <p:cNvSpPr txBox="1"/>
          <p:nvPr/>
        </p:nvSpPr>
        <p:spPr>
          <a:xfrm>
            <a:off x="6083300" y="4919133"/>
            <a:ext cx="20537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/>
              <a:t>Bron: bechtle.com</a:t>
            </a:r>
          </a:p>
        </p:txBody>
      </p:sp>
    </p:spTree>
    <p:extLst>
      <p:ext uri="{BB962C8B-B14F-4D97-AF65-F5344CB8AC3E}">
        <p14:creationId xmlns:p14="http://schemas.microsoft.com/office/powerpoint/2010/main" val="23849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EB0E8-1120-6CA0-E30E-EF0300445B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600" dirty="0"/>
              <a:t>Alle aanbieders domeinnamen in scope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6D54FFCF-298A-A0B4-4DE5-B68378618D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4184" y="1154043"/>
            <a:ext cx="11274147" cy="4927599"/>
          </a:xfrm>
        </p:spPr>
        <p:txBody>
          <a:bodyPr/>
          <a:lstStyle/>
          <a:p>
            <a:pPr algn="ctr"/>
            <a:r>
              <a:rPr lang="nl-NL" sz="1600" dirty="0"/>
              <a:t>Art. 2 4:</a:t>
            </a:r>
            <a:br>
              <a:rPr lang="nl-NL" sz="1600" dirty="0"/>
            </a:br>
            <a:r>
              <a:rPr lang="en-US" sz="1600" b="1" dirty="0"/>
              <a:t>Regardless of their size</a:t>
            </a:r>
            <a:r>
              <a:rPr lang="en-US" sz="1600" dirty="0"/>
              <a:t>, this Directive applies to entities providing domain name registration services.</a:t>
            </a:r>
            <a:br>
              <a:rPr lang="en-US" sz="1600" dirty="0"/>
            </a:br>
            <a:br>
              <a:rPr lang="en-US" sz="1600" dirty="0"/>
            </a:br>
            <a:r>
              <a:rPr lang="en-US" sz="1600" dirty="0"/>
              <a:t>Art. 2 2:</a:t>
            </a:r>
            <a:br>
              <a:rPr lang="en-US" sz="1600" dirty="0"/>
            </a:br>
            <a:r>
              <a:rPr lang="en-US" sz="1600" dirty="0"/>
              <a:t>Regardless of their size, this Directive also applies to entities of a type referred to in Annex I or II, where [..] services are provided by [..] </a:t>
            </a:r>
            <a:r>
              <a:rPr lang="en-US" sz="1600" b="1" dirty="0"/>
              <a:t>top-level domain name registries </a:t>
            </a:r>
            <a:r>
              <a:rPr lang="en-US" sz="1600" dirty="0"/>
              <a:t>and </a:t>
            </a:r>
            <a:r>
              <a:rPr lang="en-US" sz="1600" b="1" dirty="0"/>
              <a:t>domain name system service providers</a:t>
            </a:r>
            <a:br>
              <a:rPr lang="en-US" sz="1600" b="1" dirty="0"/>
            </a:br>
            <a:endParaRPr lang="en-US" sz="1600" b="1" dirty="0"/>
          </a:p>
          <a:p>
            <a:pPr algn="ctr"/>
            <a:r>
              <a:rPr lang="nl-NL" sz="1600" dirty="0"/>
              <a:t>Art. 6 20/22:</a:t>
            </a:r>
            <a:br>
              <a:rPr lang="nl-NL" sz="1600" dirty="0"/>
            </a:br>
            <a:r>
              <a:rPr lang="en-US" sz="1600" dirty="0"/>
              <a:t>DNS service provider’ means an entity that provides: (a) publicly available </a:t>
            </a:r>
            <a:r>
              <a:rPr lang="en-US" sz="1600" b="1" dirty="0"/>
              <a:t>recursive</a:t>
            </a:r>
            <a:r>
              <a:rPr lang="en-US" sz="1600" dirty="0"/>
              <a:t> domain name resolution services for internet end-users; or (b) </a:t>
            </a:r>
            <a:r>
              <a:rPr lang="en-US" sz="1600" b="1" dirty="0"/>
              <a:t>authoritative</a:t>
            </a:r>
            <a:r>
              <a:rPr lang="en-US" sz="1600" dirty="0"/>
              <a:t> domain name resolution services for </a:t>
            </a:r>
            <a:r>
              <a:rPr lang="en-US" sz="1600" b="1" dirty="0"/>
              <a:t>third-party use</a:t>
            </a:r>
            <a:r>
              <a:rPr lang="en-US" sz="1600" dirty="0"/>
              <a:t>, </a:t>
            </a:r>
          </a:p>
          <a:p>
            <a:pPr algn="ctr"/>
            <a:r>
              <a:rPr lang="en-US" sz="1600" dirty="0"/>
              <a:t>‘entity providing domain name registration services’ means </a:t>
            </a:r>
            <a:r>
              <a:rPr lang="en-US" sz="1600" b="1" dirty="0"/>
              <a:t>a registrar </a:t>
            </a:r>
            <a:r>
              <a:rPr lang="en-US" sz="1600" dirty="0"/>
              <a:t>or an agent acting on behalf of registrars, such as a </a:t>
            </a:r>
            <a:r>
              <a:rPr lang="en-US" sz="1600" b="1" dirty="0"/>
              <a:t>privacy or proxy registration service provider</a:t>
            </a:r>
            <a:r>
              <a:rPr lang="en-US" sz="1600" dirty="0"/>
              <a:t> or </a:t>
            </a:r>
            <a:r>
              <a:rPr lang="en-US" sz="1600" b="1" dirty="0"/>
              <a:t>reseller</a:t>
            </a:r>
            <a:r>
              <a:rPr lang="en-US" sz="1600" dirty="0"/>
              <a:t>;</a:t>
            </a:r>
          </a:p>
          <a:p>
            <a:pPr algn="ctr"/>
            <a:endParaRPr lang="en-US" sz="1600" dirty="0"/>
          </a:p>
          <a:p>
            <a:pPr algn="ctr"/>
            <a:r>
              <a:rPr lang="nl-NL" sz="1600" dirty="0"/>
              <a:t>Art. 26 3:</a:t>
            </a:r>
            <a:br>
              <a:rPr lang="en-US" sz="1600" dirty="0"/>
            </a:br>
            <a:r>
              <a:rPr lang="en-US" sz="1600" dirty="0"/>
              <a:t>If an entity [..] is not established in the Union, but offers services within the Union, it shall designate a representative in the Union.</a:t>
            </a:r>
            <a:endParaRPr lang="nl-NL" sz="1600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5A7DB5A9-39CD-6D51-3FAA-31CC96DC6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Publiek 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760ED791-A00A-A897-E520-381F33CE1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5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26012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6C3BFD62-B0A5-C0DD-6FEF-D98405C95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Publiek </a:t>
            </a:r>
            <a:endParaRPr lang="nl-NL" noProof="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06FDBDA-3D25-AEB9-1E3F-358403A606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Art. 28 Breakdown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AA529FC4-3F74-19B5-CBB0-16E2CEE975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6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5954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2E1953-3E8C-F388-E58E-1FFD38D901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600" dirty="0"/>
              <a:t>Art. 28 1: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8539683B-6AFF-2DD1-1AA3-81C10AF9D4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7" y="1337733"/>
            <a:ext cx="11274147" cy="4434468"/>
          </a:xfrm>
        </p:spPr>
        <p:txBody>
          <a:bodyPr/>
          <a:lstStyle/>
          <a:p>
            <a:pPr algn="ctr"/>
            <a:br>
              <a:rPr lang="en-US" sz="3200" dirty="0"/>
            </a:br>
            <a:r>
              <a:rPr lang="en-US" sz="3200" dirty="0"/>
              <a:t>[..] Member States shall require [..] registries and entities providing domain name registration services to collect and maintain </a:t>
            </a:r>
            <a:r>
              <a:rPr lang="en-US" sz="3200" b="1" dirty="0"/>
              <a:t>accurate and complete domain name registration data </a:t>
            </a:r>
            <a:br>
              <a:rPr lang="en-US" sz="3200" b="1" dirty="0"/>
            </a:br>
            <a:endParaRPr lang="en-US" sz="3200" b="1" dirty="0"/>
          </a:p>
          <a:p>
            <a:pPr algn="ctr"/>
            <a:r>
              <a:rPr lang="en-US" sz="3200" dirty="0"/>
              <a:t>[..] </a:t>
            </a:r>
            <a:r>
              <a:rPr lang="en-US" sz="3200" b="1" dirty="0"/>
              <a:t>in accordance with Union data protection law as regards data which are personal data.</a:t>
            </a:r>
            <a:endParaRPr lang="nl-NL" sz="3200" b="1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33231342-B492-7B82-5C76-582C570F0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Publiek </a:t>
            </a:r>
            <a:endParaRPr lang="nl-NL" noProof="0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61C43EE-9CB6-7139-16A6-8CAC9F785C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7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3889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0FD694-8422-D6D5-571E-705F22435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600" dirty="0"/>
              <a:t>Art. 28 2: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AB44A6C3-0A22-5743-91B9-A7D4AC6EE9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58927" y="1092201"/>
            <a:ext cx="11274147" cy="5050182"/>
          </a:xfrm>
        </p:spPr>
        <p:txBody>
          <a:bodyPr/>
          <a:lstStyle/>
          <a:p>
            <a:r>
              <a:rPr lang="en-US" dirty="0"/>
              <a:t>Such information shall include:</a:t>
            </a:r>
            <a:br>
              <a:rPr lang="en-US" dirty="0"/>
            </a:br>
            <a:endParaRPr lang="en-US" dirty="0"/>
          </a:p>
          <a:p>
            <a:r>
              <a:rPr lang="en-US" dirty="0"/>
              <a:t>(a) the domain name;</a:t>
            </a:r>
            <a:br>
              <a:rPr lang="en-US" dirty="0"/>
            </a:br>
            <a:endParaRPr lang="en-US" dirty="0"/>
          </a:p>
          <a:p>
            <a:r>
              <a:rPr lang="en-US" dirty="0"/>
              <a:t>(b) the date of registration; </a:t>
            </a:r>
            <a:br>
              <a:rPr lang="en-US" dirty="0"/>
            </a:br>
            <a:endParaRPr lang="en-US" dirty="0"/>
          </a:p>
          <a:p>
            <a:r>
              <a:rPr lang="en-US" dirty="0"/>
              <a:t>(c) </a:t>
            </a:r>
            <a:r>
              <a:rPr lang="en-US" b="1" dirty="0"/>
              <a:t>the registrant’s name, contact email address and telephone number</a:t>
            </a:r>
            <a:r>
              <a:rPr lang="en-US" dirty="0"/>
              <a:t>;</a:t>
            </a:r>
            <a:br>
              <a:rPr lang="en-US" dirty="0"/>
            </a:br>
            <a:endParaRPr lang="en-US" dirty="0"/>
          </a:p>
          <a:p>
            <a:r>
              <a:rPr lang="en-US" dirty="0"/>
              <a:t>(d) the contact email address and telephone number of the point of contact [..] in the event that they are different from [..] the registrant.</a:t>
            </a:r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F3060A2-FA68-1162-0B9C-64458BA798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Publiek </a:t>
            </a:r>
            <a:endParaRPr lang="nl-NL" noProof="0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252135B4-9D0F-F0AA-79AC-41EAB0318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8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73704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1450AE-5618-3513-90F5-EF2BE1D13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Art. 28 6: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987754F2-05AF-782E-ACFB-296E92CA48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endParaRPr lang="nl-NL" dirty="0"/>
          </a:p>
          <a:p>
            <a:endParaRPr lang="nl-NL" dirty="0"/>
          </a:p>
          <a:p>
            <a:pPr algn="ctr"/>
            <a:r>
              <a:rPr lang="en-US" dirty="0"/>
              <a:t>Compliance with the obligations [..] shall not result in a </a:t>
            </a:r>
            <a:r>
              <a:rPr lang="en-US" b="1" dirty="0"/>
              <a:t>duplication</a:t>
            </a:r>
            <a:r>
              <a:rPr lang="en-US" dirty="0"/>
              <a:t> of collecting domain name registration data.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[..] Member States shall require [..] registries and entities providing domain name registration services to cooperate with each other.</a:t>
            </a:r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831C3E3-5D09-5E1B-07D8-F4B24A4091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Publiek </a:t>
            </a:r>
            <a:endParaRPr lang="nl-NL" noProof="0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961DD16-7263-D913-462A-FCECE49BE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54E30-3A85-4DFB-8D21-D761F0F41E90}" type="slidenum">
              <a:rPr lang="nl-NL" smtClean="0"/>
              <a:pPr/>
              <a:t>9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44488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81d30f1fbfadb2cab35ac528d10b239959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DN_2020_NL">
  <a:themeElements>
    <a:clrScheme name="SIDN">
      <a:dk1>
        <a:sysClr val="windowText" lastClr="000000"/>
      </a:dk1>
      <a:lt1>
        <a:sysClr val="window" lastClr="FFFFFF"/>
      </a:lt1>
      <a:dk2>
        <a:srgbClr val="002154"/>
      </a:dk2>
      <a:lt2>
        <a:srgbClr val="0062A9"/>
      </a:lt2>
      <a:accent1>
        <a:srgbClr val="642180"/>
      </a:accent1>
      <a:accent2>
        <a:srgbClr val="1CAACB"/>
      </a:accent2>
      <a:accent3>
        <a:srgbClr val="219550"/>
      </a:accent3>
      <a:accent4>
        <a:srgbClr val="F15936"/>
      </a:accent4>
      <a:accent5>
        <a:srgbClr val="003368"/>
      </a:accent5>
      <a:accent6>
        <a:srgbClr val="00B9B6"/>
      </a:accent6>
      <a:hlink>
        <a:srgbClr val="0062A9"/>
      </a:hlink>
      <a:folHlink>
        <a:srgbClr val="0062A9"/>
      </a:folHlink>
    </a:clrScheme>
    <a:fontScheme name="SIDN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IDN template NL_V4" id="{471F9AB6-B6AD-4A63-A3B2-A37EEBD02DD9}" vid="{217C7E49-BD42-4599-9782-966A8BF6380D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515D3AD39E7EE49BAA7F24A2161668F" ma:contentTypeVersion="16" ma:contentTypeDescription="Create a new document." ma:contentTypeScope="" ma:versionID="c8775e3077c365a29fcc647478775983">
  <xsd:schema xmlns:xsd="http://www.w3.org/2001/XMLSchema" xmlns:xs="http://www.w3.org/2001/XMLSchema" xmlns:p="http://schemas.microsoft.com/office/2006/metadata/properties" xmlns:ns2="37b5b96d-eb6f-4b72-8f64-68ccca6fcb38" xmlns:ns3="487f6cde-4b20-420d-aa54-5a3bf31d61b0" targetNamespace="http://schemas.microsoft.com/office/2006/metadata/properties" ma:root="true" ma:fieldsID="9a12bb5bcd6b4a6c7df2ed8def850992" ns2:_="" ns3:_="">
    <xsd:import namespace="37b5b96d-eb6f-4b72-8f64-68ccca6fcb38"/>
    <xsd:import namespace="487f6cde-4b20-420d-aa54-5a3bf31d61b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b5b96d-eb6f-4b72-8f64-68ccca6fcb3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801051c-8ff2-4418-89ac-59886105901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7f6cde-4b20-420d-aa54-5a3bf31d61b0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7b5b96d-eb6f-4b72-8f64-68ccca6fcb38">
      <Terms xmlns="http://schemas.microsoft.com/office/infopath/2007/PartnerControls"/>
    </lcf76f155ced4ddcb4097134ff3c332f>
    <SharedWithUsers xmlns="487f6cde-4b20-420d-aa54-5a3bf31d61b0">
      <UserInfo>
        <DisplayName>Maarten Simon</DisplayName>
        <AccountId>38</AccountId>
        <AccountType/>
      </UserInfo>
      <UserInfo>
        <DisplayName>Michiel Henneke</DisplayName>
        <AccountId>1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791F43A2-CC5B-4F14-BC81-3550711DE2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7b5b96d-eb6f-4b72-8f64-68ccca6fcb38"/>
    <ds:schemaRef ds:uri="487f6cde-4b20-420d-aa54-5a3bf31d61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680877E-52E3-4A29-8FC4-03989D796F0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EFC73DD-F4BB-498F-A8BA-C413704C0AC1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487f6cde-4b20-420d-aa54-5a3bf31d61b0"/>
    <ds:schemaRef ds:uri="37b5b96d-eb6f-4b72-8f64-68ccca6fcb38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DN template NL</Template>
  <TotalTime>127</TotalTime>
  <Words>866</Words>
  <Application>Microsoft Office PowerPoint</Application>
  <PresentationFormat>Breedbeeld</PresentationFormat>
  <Paragraphs>118</Paragraphs>
  <Slides>16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24" baseType="lpstr">
      <vt:lpstr>Arial</vt:lpstr>
      <vt:lpstr>Calibri</vt:lpstr>
      <vt:lpstr>Georgia</vt:lpstr>
      <vt:lpstr>Open Sans Light</vt:lpstr>
      <vt:lpstr>Segoe UI Light</vt:lpstr>
      <vt:lpstr>Wingdings</vt:lpstr>
      <vt:lpstr>SIDN_2020_NL</vt:lpstr>
      <vt:lpstr>think-cell Slide</vt:lpstr>
      <vt:lpstr>NIS-2 en de domeinnamensector</vt:lpstr>
      <vt:lpstr>Agenda</vt:lpstr>
      <vt:lpstr>Het (officieuze) verhaal achter NIS-2</vt:lpstr>
      <vt:lpstr>Tijdlijn en toepasselijkheid</vt:lpstr>
      <vt:lpstr>Alle aanbieders domeinnamen in scope</vt:lpstr>
      <vt:lpstr>Art. 28 Breakdown</vt:lpstr>
      <vt:lpstr>Art. 28 1:</vt:lpstr>
      <vt:lpstr>Art. 28 2:</vt:lpstr>
      <vt:lpstr>Art. 28 6:</vt:lpstr>
      <vt:lpstr>Dus?</vt:lpstr>
      <vt:lpstr>Voorbeeld: registratieproces .nl. .be &amp; .com</vt:lpstr>
      <vt:lpstr>En verder:</vt:lpstr>
      <vt:lpstr>Wat zijn de opties?</vt:lpstr>
      <vt:lpstr>Uitdagingen voor de sector:</vt:lpstr>
      <vt:lpstr>Wanneer weten wij meer?</vt:lpstr>
      <vt:lpstr>Dankjewel voor je aandach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ichiel Henneke</dc:creator>
  <cp:lastModifiedBy>Michiel Henneke</cp:lastModifiedBy>
  <cp:revision>2</cp:revision>
  <dcterms:created xsi:type="dcterms:W3CDTF">2023-09-27T12:37:26Z</dcterms:created>
  <dcterms:modified xsi:type="dcterms:W3CDTF">2023-10-02T07:1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515D3AD39E7EE49BAA7F24A2161668F</vt:lpwstr>
  </property>
  <property fmtid="{D5CDD505-2E9C-101B-9397-08002B2CF9AE}" pid="3" name="d1539f7a0ecf4237b74565dbfbad77ff">
    <vt:lpwstr>Marketing management|a572825a-9199-42db-b7c7-72ab1989a243</vt:lpwstr>
  </property>
  <property fmtid="{D5CDD505-2E9C-101B-9397-08002B2CF9AE}" pid="4" name="p55e13f65d2843eeb598ac8370a853af">
    <vt:lpwstr/>
  </property>
  <property fmtid="{D5CDD505-2E9C-101B-9397-08002B2CF9AE}" pid="5" name="g7535cb0b1cc4036a1846f2dce200e2f">
    <vt:lpwstr>NMS|afabacf2-6f1e-480f-a48b-26c4da08a206</vt:lpwstr>
  </property>
  <property fmtid="{D5CDD505-2E9C-101B-9397-08002B2CF9AE}" pid="6" name="SP_ArchiveGroup">
    <vt:lpwstr/>
  </property>
  <property fmtid="{D5CDD505-2E9C-101B-9397-08002B2CF9AE}" pid="7" name="Team">
    <vt:lpwstr>5;#Marketing management|a572825a-9199-42db-b7c7-72ab1989a243</vt:lpwstr>
  </property>
  <property fmtid="{D5CDD505-2E9C-101B-9397-08002B2CF9AE}" pid="8" name="SP_InfoOwner">
    <vt:lpwstr>2;#NMS|afabacf2-6f1e-480f-a48b-26c4da08a206</vt:lpwstr>
  </property>
  <property fmtid="{D5CDD505-2E9C-101B-9397-08002B2CF9AE}" pid="9" name="c6ee351b1184471cb2fafcf8596ac576">
    <vt:lpwstr/>
  </property>
  <property fmtid="{D5CDD505-2E9C-101B-9397-08002B2CF9AE}" pid="10" name="SP_ArchiveAfter">
    <vt:lpwstr/>
  </property>
  <property fmtid="{D5CDD505-2E9C-101B-9397-08002B2CF9AE}" pid="11" name="SP_DocumentType">
    <vt:lpwstr/>
  </property>
  <property fmtid="{D5CDD505-2E9C-101B-9397-08002B2CF9AE}" pid="12" name="MediaServiceImageTags">
    <vt:lpwstr/>
  </property>
  <property fmtid="{D5CDD505-2E9C-101B-9397-08002B2CF9AE}" pid="13" name="k4d260258d7849f5a9589900e59b5239">
    <vt:lpwstr/>
  </property>
  <property fmtid="{D5CDD505-2E9C-101B-9397-08002B2CF9AE}" pid="14" name="TaxCatchAll">
    <vt:lpwstr>2;#NMS|afabacf2-6f1e-480f-a48b-26c4da08a206;#5;#Marketing management|a572825a-9199-42db-b7c7-72ab1989a243</vt:lpwstr>
  </property>
  <property fmtid="{D5CDD505-2E9C-101B-9397-08002B2CF9AE}" pid="15" name="SP_Searchtags">
    <vt:lpwstr/>
  </property>
  <property fmtid="{D5CDD505-2E9C-101B-9397-08002B2CF9AE}" pid="16" name="SP_InfoCategory">
    <vt:lpwstr/>
  </property>
  <property fmtid="{D5CDD505-2E9C-101B-9397-08002B2CF9AE}" pid="17" name="m0459b32cb084c9fb4726f92b52b53b0">
    <vt:lpwstr/>
  </property>
  <property fmtid="{D5CDD505-2E9C-101B-9397-08002B2CF9AE}" pid="18" name="ce7db9954ccc4f5f8f407571f8063f07">
    <vt:lpwstr/>
  </property>
</Properties>
</file>